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s/slide6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5.xml" ContentType="application/vnd.openxmlformats-officedocument.presentationml.slide+xml"/>
  <Override PartName="/ppt/slides/slide17.xml" ContentType="application/vnd.openxmlformats-officedocument.presentationml.slide+xml"/>
  <Override PartName="/ppt/slides/slide19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24.xml" ContentType="application/vnd.openxmlformats-officedocument.presentationml.slide+xml"/>
  <Override PartName="/ppt/slides/slide23.xml" ContentType="application/vnd.openxmlformats-officedocument.presentationml.slide+xml"/>
  <Override PartName="/ppt/slides/slide2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notesSlides/notesSlide7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6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5.xml" ContentType="application/vnd.openxmlformats-officedocument.presentationml.notesSlide+xml"/>
  <Override PartName="/ppt/notesSlides/notesSlide8.xml" ContentType="application/vnd.openxmlformats-officedocument.presentationml.notes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5.xml" ContentType="application/vnd.openxmlformats-officedocument.presentationml.slideLayout+xml"/>
  <Override PartName="/ppt/notesSlides/notesSlide3.xml" ContentType="application/vnd.openxmlformats-officedocument.presentationml.notesSlide+xml"/>
  <Override PartName="/ppt/slideLayouts/slideLayout14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8.xml" ContentType="application/vnd.openxmlformats-officedocument.presentationml.tags+xml"/>
  <Override PartName="/ppt/tags/tag11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14.xml" ContentType="application/vnd.openxmlformats-officedocument.presentationml.tags+xml"/>
  <Override PartName="/ppt/tags/tag7.xml" ContentType="application/vnd.openxmlformats-officedocument.presentationml.tags+xml"/>
  <Override PartName="/ppt/tags/tag21.xml" ContentType="application/vnd.openxmlformats-officedocument.presentationml.tags+xml"/>
  <Override PartName="/ppt/tags/tag16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37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15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1" r:id="rId1"/>
  </p:sldMasterIdLst>
  <p:notesMasterIdLst>
    <p:notesMasterId r:id="rId26"/>
  </p:notesMasterIdLst>
  <p:handoutMasterIdLst>
    <p:handoutMasterId r:id="rId27"/>
  </p:handoutMasterIdLst>
  <p:sldIdLst>
    <p:sldId id="560" r:id="rId2"/>
    <p:sldId id="632" r:id="rId3"/>
    <p:sldId id="633" r:id="rId4"/>
    <p:sldId id="626" r:id="rId5"/>
    <p:sldId id="625" r:id="rId6"/>
    <p:sldId id="584" r:id="rId7"/>
    <p:sldId id="630" r:id="rId8"/>
    <p:sldId id="631" r:id="rId9"/>
    <p:sldId id="643" r:id="rId10"/>
    <p:sldId id="600" r:id="rId11"/>
    <p:sldId id="603" r:id="rId12"/>
    <p:sldId id="608" r:id="rId13"/>
    <p:sldId id="611" r:id="rId14"/>
    <p:sldId id="612" r:id="rId15"/>
    <p:sldId id="615" r:id="rId16"/>
    <p:sldId id="614" r:id="rId17"/>
    <p:sldId id="635" r:id="rId18"/>
    <p:sldId id="636" r:id="rId19"/>
    <p:sldId id="644" r:id="rId20"/>
    <p:sldId id="634" r:id="rId21"/>
    <p:sldId id="639" r:id="rId22"/>
    <p:sldId id="641" r:id="rId23"/>
    <p:sldId id="640" r:id="rId24"/>
    <p:sldId id="642" r:id="rId25"/>
  </p:sldIdLst>
  <p:sldSz cx="9144000" cy="5143500" type="screen16x9"/>
  <p:notesSz cx="6858000" cy="90805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118">
          <p15:clr>
            <a:srgbClr val="A4A3A4"/>
          </p15:clr>
        </p15:guide>
        <p15:guide id="2" pos="5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6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ichard Lowenthal" initials="rwl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000000"/>
    <a:srgbClr val="50A1D9"/>
    <a:srgbClr val="00A9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25" autoAdjust="0"/>
    <p:restoredTop sz="90206" autoAdjust="0"/>
  </p:normalViewPr>
  <p:slideViewPr>
    <p:cSldViewPr>
      <p:cViewPr varScale="1">
        <p:scale>
          <a:sx n="63" d="100"/>
          <a:sy n="63" d="100"/>
        </p:scale>
        <p:origin x="72" y="744"/>
      </p:cViewPr>
      <p:guideLst>
        <p:guide orient="horz" pos="3118"/>
        <p:guide pos="56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1824" y="-84"/>
      </p:cViewPr>
      <p:guideLst>
        <p:guide orient="horz" pos="286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customXml" Target="../customXml/item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ustomXml" Target="../customXml/item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36" Type="http://schemas.openxmlformats.org/officeDocument/2006/relationships/customXml" Target="../customXml/item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Relationship Id="rId35" Type="http://schemas.openxmlformats.org/officeDocument/2006/relationships/customXml" Target="../customXml/item3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40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40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0956BAF1-B294-43ED-8457-2B092EADD2DA}" type="datetimeFigureOut">
              <a:rPr lang="en-US"/>
              <a:pPr>
                <a:defRPr/>
              </a:pPr>
              <a:t>11/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24888"/>
            <a:ext cx="2971800" cy="4540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24888"/>
            <a:ext cx="2971800" cy="4540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3687D0CF-43FB-407E-888A-884DE2FA67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4427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40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40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F877EA8-8581-48C2-A596-756D8A319887}" type="datetime1">
              <a:rPr lang="en-US"/>
              <a:pPr>
                <a:defRPr/>
              </a:pPr>
              <a:t>11/8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225" y="681038"/>
            <a:ext cx="6051550" cy="34051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13238"/>
            <a:ext cx="5486400" cy="40862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24888"/>
            <a:ext cx="2971800" cy="4540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24888"/>
            <a:ext cx="2971800" cy="4540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196F50C3-A53C-451E-97BB-BD0E3C2685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254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 pitchFamily="-111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96F50C3-A53C-451E-97BB-BD0E3C268537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0035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96F50C3-A53C-451E-97BB-BD0E3C268537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1100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r>
              <a:rPr lang="en-US" sz="1300" dirty="0"/>
              <a:t>Electric vehicle sales is expected to grow rapidly over the next ten years so it is a great time to take advantage of the opportunity to show leadership in sustainability by helping propel adoption of this cleaner, more efficient technolog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96F50C3-A53C-451E-97BB-BD0E3C268537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75871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5246">
              <a:defRPr/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C2AAD6-21E9-4E3C-94FB-D85179D60B9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050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r>
              <a:rPr lang="en-US" sz="1300" dirty="0"/>
              <a:t>Three types of DC fast charging exist in the marketplace today. The SAE J1772 combined charging system (CCS), which uses a single port for either AC Level 1 and 2 or DC fast charging was recently introduced. Additionally, Tesla has their own supercharger network, which is based on their own connector and currently only charges their own vehicles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96F50C3-A53C-451E-97BB-BD0E3C268537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1549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n-US" dirty="0"/>
              <a:t>An installation becomes more expensive when: 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Trenching or boring a long distance from the electrical panel to the charging location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Upgrading the electrical panel to create dedicated circuits for each EVSE unit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Upgrading the electrical service to provide sufficient electrical capacity to the site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96F50C3-A53C-451E-97BB-BD0E3C268537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3087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1DEA6-B5FE-D348-8E13-3DAC19038074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82362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smtClean="0">
                <a:ea typeface="ＭＳ Ｐゴシック" panose="020B0600070205080204" pitchFamily="34" charset="-128"/>
              </a:rPr>
              <a:t>ChargePoint also has solutions for single-family and multi-family homes.</a:t>
            </a: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FB50AD8-0C1C-4537-BECF-F6EE3F946FDC}" type="slidenum">
              <a:rPr lang="en-US" alt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/>
              <a:t>19</a:t>
            </a:fld>
            <a:endParaRPr lang="en-US" altLang="en-US" smtClean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41328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hargePoint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0" y="554264"/>
            <a:ext cx="3200400" cy="8744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809750"/>
            <a:ext cx="7315200" cy="857205"/>
          </a:xfrm>
          <a:effectLst>
            <a:outerShdw blurRad="50800" dist="38100" dir="6540000" algn="tl" rotWithShape="0">
              <a:srgbClr val="000000">
                <a:alpha val="15000"/>
              </a:srgbClr>
            </a:outerShdw>
          </a:effectLst>
        </p:spPr>
        <p:txBody>
          <a:bodyPr anchor="b" anchorCtr="0">
            <a:normAutofit/>
          </a:bodyPr>
          <a:lstStyle>
            <a:lvl1pPr algn="l">
              <a:defRPr sz="34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2809785"/>
            <a:ext cx="6629400" cy="338554"/>
          </a:xfrm>
        </p:spPr>
        <p:txBody>
          <a:bodyPr wrap="square" lIns="0">
            <a:spAutoFit/>
          </a:bodyPr>
          <a:lstStyle>
            <a:lvl1pPr marL="0" indent="0" algn="l">
              <a:buNone/>
              <a:defRPr sz="2200" b="1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828800" y="3228201"/>
            <a:ext cx="6629400" cy="276999"/>
          </a:xfrm>
        </p:spPr>
        <p:txBody>
          <a:bodyPr wrap="square" lIns="0">
            <a:spAutoFit/>
          </a:bodyPr>
          <a:lstStyle>
            <a:lvl1pPr algn="l">
              <a:buNone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52092" y="4799144"/>
            <a:ext cx="1390033" cy="230832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900" dirty="0">
                <a:solidFill>
                  <a:srgbClr val="4C4C4C"/>
                </a:solidFill>
              </a:rPr>
              <a:t>©</a:t>
            </a:r>
            <a:r>
              <a:rPr lang="en-US" sz="900" baseline="0" dirty="0">
                <a:solidFill>
                  <a:srgbClr val="4C4C4C"/>
                </a:solidFill>
              </a:rPr>
              <a:t> </a:t>
            </a:r>
            <a:r>
              <a:rPr lang="en-US" sz="900" dirty="0">
                <a:solidFill>
                  <a:srgbClr val="4C4C4C"/>
                </a:solidFill>
              </a:rPr>
              <a:t>2017 ChargePoint,</a:t>
            </a:r>
            <a:r>
              <a:rPr lang="en-US" sz="900" baseline="0" dirty="0">
                <a:solidFill>
                  <a:srgbClr val="4C4C4C"/>
                </a:solidFill>
              </a:rPr>
              <a:t> Inc.</a:t>
            </a:r>
            <a:endParaRPr lang="en-US" sz="900" dirty="0">
              <a:solidFill>
                <a:srgbClr val="4C4C4C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7DA021-D4B9-46C0-8AA3-657A50959BD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1885950"/>
            <a:ext cx="7315200" cy="430887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Enter closing tex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BCCA5C-75CA-43B8-B936-D2315E2FCCF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2457449"/>
            <a:ext cx="7315200" cy="1543050"/>
          </a:xfrm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dirty="0"/>
              <a:t>Contact information or other closing notes</a:t>
            </a:r>
          </a:p>
        </p:txBody>
      </p:sp>
    </p:spTree>
    <p:extLst>
      <p:ext uri="{BB962C8B-B14F-4D97-AF65-F5344CB8AC3E}">
        <p14:creationId xmlns:p14="http://schemas.microsoft.com/office/powerpoint/2010/main" val="21789522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04A345-F67F-4E73-9300-A56209E3BF6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25026" y="457201"/>
            <a:ext cx="861774" cy="3829049"/>
          </a:xfrm>
        </p:spPr>
        <p:txBody>
          <a:bodyPr vert="eaVert"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857250"/>
            <a:ext cx="6781800" cy="3429001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C81B0F-ADCA-4486-AB4D-E821AEE3F8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71450"/>
            <a:ext cx="8305800" cy="40011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CA" dirty="0"/>
            </a:lvl1pPr>
          </a:lstStyle>
          <a:p>
            <a:pPr lvl="0"/>
            <a:r>
              <a:rPr lang="en-CA" dirty="0"/>
              <a:t>Words go her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1165860"/>
            <a:ext cx="8382000" cy="35433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CA" dirty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2733531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E69C4433-2E8E-4AC9-8444-5C5F7BAEFED5}" type="datetime1">
              <a:rPr lang="en-US" smtClean="0"/>
              <a:t>11/8/2017</a:t>
            </a:fld>
            <a:endParaRPr lang="en-CA" dirty="0"/>
          </a:p>
        </p:txBody>
      </p:sp>
      <p:sp>
        <p:nvSpPr>
          <p:cNvPr id="6" name="Line 2"/>
          <p:cNvSpPr>
            <a:spLocks noChangeShapeType="1"/>
          </p:cNvSpPr>
          <p:nvPr userDrawn="1"/>
        </p:nvSpPr>
        <p:spPr bwMode="auto">
          <a:xfrm>
            <a:off x="457200" y="3657600"/>
            <a:ext cx="8229600" cy="0"/>
          </a:xfrm>
          <a:prstGeom prst="line">
            <a:avLst/>
          </a:prstGeom>
          <a:noFill/>
          <a:ln w="25400" cap="flat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CA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03485" y="3486150"/>
            <a:ext cx="8305800" cy="857250"/>
          </a:xfrm>
        </p:spPr>
        <p:txBody>
          <a:bodyPr>
            <a:normAutofit/>
          </a:bodyPr>
          <a:lstStyle>
            <a:lvl1pPr algn="ctr" defTabSz="515105" rtl="0" eaLnBrk="1" latinLnBrk="0" hangingPunct="1">
              <a:spcBef>
                <a:spcPct val="0"/>
              </a:spcBef>
              <a:buNone/>
              <a:defRPr lang="en-CA" sz="1575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CA" dirty="0"/>
              <a:t>Title page</a:t>
            </a:r>
          </a:p>
        </p:txBody>
      </p:sp>
    </p:spTree>
    <p:extLst>
      <p:ext uri="{BB962C8B-B14F-4D97-AF65-F5344CB8AC3E}">
        <p14:creationId xmlns:p14="http://schemas.microsoft.com/office/powerpoint/2010/main" val="25833211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/Customer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504950"/>
            <a:ext cx="7315200" cy="857205"/>
          </a:xfrm>
          <a:effectLst>
            <a:outerShdw blurRad="50800" dist="38100" dir="6540000" algn="tl" rotWithShape="0">
              <a:srgbClr val="000000">
                <a:alpha val="15000"/>
              </a:srgbClr>
            </a:outerShdw>
          </a:effectLst>
        </p:spPr>
        <p:txBody>
          <a:bodyPr anchor="b" anchorCtr="0">
            <a:normAutofit/>
          </a:bodyPr>
          <a:lstStyle>
            <a:lvl1pPr algn="l">
              <a:defRPr sz="34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2504985"/>
            <a:ext cx="6629400" cy="338554"/>
          </a:xfrm>
        </p:spPr>
        <p:txBody>
          <a:bodyPr wrap="square" lIns="0">
            <a:spAutoFit/>
          </a:bodyPr>
          <a:lstStyle>
            <a:lvl1pPr marL="0" indent="0" algn="l">
              <a:buNone/>
              <a:defRPr sz="2200" b="1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828800" y="2952006"/>
            <a:ext cx="6629400" cy="276999"/>
          </a:xfrm>
        </p:spPr>
        <p:txBody>
          <a:bodyPr wrap="square" lIns="0">
            <a:spAutoFit/>
          </a:bodyPr>
          <a:lstStyle>
            <a:lvl1pPr algn="l">
              <a:buNone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828800" y="3393133"/>
            <a:ext cx="1524000" cy="276999"/>
          </a:xfrm>
        </p:spPr>
        <p:txBody>
          <a:bodyPr wrap="square" lIns="0">
            <a:spAutoFit/>
          </a:bodyPr>
          <a:lstStyle>
            <a:lvl1pPr algn="l">
              <a:buNone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repared for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3429000" y="3393133"/>
            <a:ext cx="2743200" cy="1028700"/>
          </a:xfrm>
        </p:spPr>
        <p:txBody>
          <a:bodyPr/>
          <a:lstStyle>
            <a:lvl1pPr>
              <a:buClr>
                <a:schemeClr val="accent2"/>
              </a:buClr>
              <a:defRPr sz="1800"/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1" name="Picture 10" descr="ChargePoint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0" y="554264"/>
            <a:ext cx="3200400" cy="874486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452092" y="4799144"/>
            <a:ext cx="1390033" cy="230832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900" dirty="0">
                <a:solidFill>
                  <a:srgbClr val="4C4C4C"/>
                </a:solidFill>
              </a:rPr>
              <a:t>©</a:t>
            </a:r>
            <a:r>
              <a:rPr lang="en-US" sz="900" baseline="0" dirty="0">
                <a:solidFill>
                  <a:srgbClr val="4C4C4C"/>
                </a:solidFill>
              </a:rPr>
              <a:t> </a:t>
            </a:r>
            <a:r>
              <a:rPr lang="en-US" sz="900" dirty="0">
                <a:solidFill>
                  <a:srgbClr val="4C4C4C"/>
                </a:solidFill>
              </a:rPr>
              <a:t>2017 ChargePoint,</a:t>
            </a:r>
            <a:r>
              <a:rPr lang="en-US" sz="900" baseline="0" dirty="0">
                <a:solidFill>
                  <a:srgbClr val="4C4C4C"/>
                </a:solidFill>
              </a:rPr>
              <a:t> Inc.</a:t>
            </a:r>
            <a:endParaRPr lang="en-US" sz="900" dirty="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80580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90600" y="914401"/>
            <a:ext cx="7162800" cy="461665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Enter Agenda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BCCA5C-75CA-43B8-B936-D2315E2FCCF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0" y="1543050"/>
            <a:ext cx="7162800" cy="2571750"/>
          </a:xfrm>
        </p:spPr>
        <p:txBody>
          <a:bodyPr/>
          <a:lstStyle>
            <a:lvl1pPr marL="457200" indent="-457200">
              <a:buFont typeface="+mj-lt"/>
              <a:buAutoNum type="arabicPeriod"/>
              <a:tabLst>
                <a:tab pos="7085013" algn="r"/>
              </a:tabLst>
              <a:defRPr sz="1800" baseline="0"/>
            </a:lvl1pPr>
          </a:lstStyle>
          <a:p>
            <a:pPr lvl="0"/>
            <a:r>
              <a:rPr lang="en-US" dirty="0"/>
              <a:t>Enter Topic 1 &lt;press tab&gt; 	Presenter Name</a:t>
            </a:r>
          </a:p>
          <a:p>
            <a:pPr lvl="0"/>
            <a:r>
              <a:rPr lang="en-US" dirty="0"/>
              <a:t>Topic 2	Presenter Name</a:t>
            </a:r>
          </a:p>
          <a:p>
            <a:pPr lvl="0"/>
            <a:r>
              <a:rPr lang="en-US" dirty="0"/>
              <a:t>Topic 3	Presenter Name</a:t>
            </a:r>
          </a:p>
          <a:p>
            <a:pPr lvl="0"/>
            <a:r>
              <a:rPr lang="en-US" dirty="0"/>
              <a:t>Topic 4	Presenter Name</a:t>
            </a:r>
          </a:p>
          <a:p>
            <a:pPr lvl="0"/>
            <a:r>
              <a:rPr lang="en-US" dirty="0"/>
              <a:t>Topic 5	Presenter Name</a:t>
            </a:r>
          </a:p>
        </p:txBody>
      </p:sp>
    </p:spTree>
    <p:extLst>
      <p:ext uri="{BB962C8B-B14F-4D97-AF65-F5344CB8AC3E}">
        <p14:creationId xmlns:p14="http://schemas.microsoft.com/office/powerpoint/2010/main" val="37834882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B65967-37EE-4D55-82F8-A6494FD55C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2419350"/>
            <a:ext cx="7580313" cy="450056"/>
          </a:xfrm>
          <a:effectLst>
            <a:outerShdw blurRad="50800" dist="38100" dir="6600000" algn="tl" rotWithShape="0">
              <a:srgbClr val="000000">
                <a:alpha val="25000"/>
              </a:srgbClr>
            </a:outerShdw>
          </a:effectLst>
        </p:spPr>
        <p:txBody>
          <a:bodyPr anchor="t">
            <a:normAutofit/>
          </a:bodyPr>
          <a:lstStyle>
            <a:lvl1pPr algn="l">
              <a:defRPr sz="3200" b="1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00200" y="3105151"/>
            <a:ext cx="6894512" cy="66794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 descr="ChargePoint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0" y="554264"/>
            <a:ext cx="3200400" cy="874486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96200" y="4781550"/>
            <a:ext cx="1066800" cy="22631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9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3BCCA5C-75CA-43B8-B936-D2315E2FCCF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52092" y="4799144"/>
            <a:ext cx="1390033" cy="230832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900" dirty="0">
                <a:solidFill>
                  <a:srgbClr val="4C4C4C"/>
                </a:solidFill>
              </a:rPr>
              <a:t>©</a:t>
            </a:r>
            <a:r>
              <a:rPr lang="en-US" sz="900" baseline="0" dirty="0">
                <a:solidFill>
                  <a:srgbClr val="4C4C4C"/>
                </a:solidFill>
              </a:rPr>
              <a:t> </a:t>
            </a:r>
            <a:r>
              <a:rPr lang="en-US" sz="900" dirty="0">
                <a:solidFill>
                  <a:srgbClr val="4C4C4C"/>
                </a:solidFill>
              </a:rPr>
              <a:t>2017 ChargePoint,</a:t>
            </a:r>
            <a:r>
              <a:rPr lang="en-US" sz="900" baseline="0" dirty="0">
                <a:solidFill>
                  <a:srgbClr val="4C4C4C"/>
                </a:solidFill>
              </a:rPr>
              <a:t> Inc.</a:t>
            </a:r>
            <a:endParaRPr lang="en-US" sz="900" dirty="0">
              <a:solidFill>
                <a:srgbClr val="4C4C4C"/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23950"/>
            <a:ext cx="4038600" cy="3486150"/>
          </a:xfrm>
        </p:spPr>
        <p:txBody>
          <a:bodyPr>
            <a:normAutofit/>
          </a:bodyPr>
          <a:lstStyle>
            <a:lvl1pPr marL="231775" indent="-231775"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23950"/>
            <a:ext cx="4038600" cy="3486150"/>
          </a:xfrm>
        </p:spPr>
        <p:txBody>
          <a:bodyPr>
            <a:normAutofit/>
          </a:bodyPr>
          <a:lstStyle>
            <a:lvl1pPr marL="231775" indent="-231775"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8ED28C-7841-4326-941B-DBAC7B9085E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23950"/>
            <a:ext cx="4040188" cy="342900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rgbClr val="0000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524001"/>
            <a:ext cx="4040188" cy="3028950"/>
          </a:xfrm>
        </p:spPr>
        <p:txBody>
          <a:bodyPr>
            <a:normAutofit/>
          </a:bodyPr>
          <a:lstStyle>
            <a:lvl1pPr marL="231775" indent="-231775"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23950"/>
            <a:ext cx="4041775" cy="342900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rgbClr val="0000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524001"/>
            <a:ext cx="4041775" cy="3028950"/>
          </a:xfrm>
        </p:spPr>
        <p:txBody>
          <a:bodyPr>
            <a:normAutofit/>
          </a:bodyPr>
          <a:lstStyle>
            <a:lvl1pPr marL="231775" indent="-231775"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9031B3-B895-47CE-984A-90F8950B724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7A1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D55CB3-A229-4D37-98DE-0BA6D5C5D1A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D55CB3-A229-4D37-98DE-0BA6D5C5D1A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7200" y="1028700"/>
            <a:ext cx="8229600" cy="3371850"/>
          </a:xfrm>
        </p:spPr>
        <p:txBody>
          <a:bodyPr/>
          <a:lstStyle>
            <a:lvl1pPr>
              <a:buClr>
                <a:schemeClr val="accent2"/>
              </a:buClr>
              <a:defRPr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4514850"/>
            <a:ext cx="8229600" cy="228600"/>
          </a:xfrm>
        </p:spPr>
        <p:txBody>
          <a:bodyPr>
            <a:normAutofit/>
          </a:bodyPr>
          <a:lstStyle>
            <a:lvl1pPr marL="0" indent="0" algn="ctr">
              <a:buNone/>
              <a:defRPr sz="1600" i="1" baseline="0"/>
            </a:lvl1pPr>
          </a:lstStyle>
          <a:p>
            <a:pPr lvl="0"/>
            <a:r>
              <a:rPr lang="en-US" dirty="0"/>
              <a:t>Optional caption here. Arial 16pt Italic.</a:t>
            </a:r>
          </a:p>
        </p:txBody>
      </p:sp>
    </p:spTree>
    <p:extLst>
      <p:ext uri="{BB962C8B-B14F-4D97-AF65-F5344CB8AC3E}">
        <p14:creationId xmlns:p14="http://schemas.microsoft.com/office/powerpoint/2010/main" val="15006243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hargePoint_logo.png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7332" y="165816"/>
            <a:ext cx="1833293" cy="500934"/>
          </a:xfrm>
          <a:prstGeom prst="rect">
            <a:avLst/>
          </a:prstGeom>
        </p:spPr>
      </p:pic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553135"/>
            <a:ext cx="82296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104900"/>
            <a:ext cx="8229600" cy="3600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96200" y="4781550"/>
            <a:ext cx="1066800" cy="22631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9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3BCCA5C-75CA-43B8-B936-D2315E2FCCF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52092" y="4799144"/>
            <a:ext cx="1390033" cy="230832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900" dirty="0">
                <a:solidFill>
                  <a:srgbClr val="4C4C4C"/>
                </a:solidFill>
              </a:rPr>
              <a:t>©</a:t>
            </a:r>
            <a:r>
              <a:rPr lang="en-US" sz="900" baseline="0" dirty="0">
                <a:solidFill>
                  <a:srgbClr val="4C4C4C"/>
                </a:solidFill>
              </a:rPr>
              <a:t> </a:t>
            </a:r>
            <a:r>
              <a:rPr lang="en-US" sz="900" dirty="0">
                <a:solidFill>
                  <a:srgbClr val="4C4C4C"/>
                </a:solidFill>
              </a:rPr>
              <a:t>2017 ChargePoint,</a:t>
            </a:r>
            <a:r>
              <a:rPr lang="en-US" sz="900" baseline="0" dirty="0">
                <a:solidFill>
                  <a:srgbClr val="4C4C4C"/>
                </a:solidFill>
              </a:rPr>
              <a:t> Inc.</a:t>
            </a:r>
            <a:endParaRPr lang="en-US" sz="900" dirty="0">
              <a:solidFill>
                <a:srgbClr val="4C4C4C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22" r:id="rId1"/>
    <p:sldLayoutId id="2147484125" r:id="rId2"/>
    <p:sldLayoutId id="2147484123" r:id="rId3"/>
    <p:sldLayoutId id="2147484114" r:id="rId4"/>
    <p:sldLayoutId id="2147484115" r:id="rId5"/>
    <p:sldLayoutId id="2147484116" r:id="rId6"/>
    <p:sldLayoutId id="2147484117" r:id="rId7"/>
    <p:sldLayoutId id="2147484118" r:id="rId8"/>
    <p:sldLayoutId id="2147484126" r:id="rId9"/>
    <p:sldLayoutId id="2147484119" r:id="rId10"/>
    <p:sldLayoutId id="2147484124" r:id="rId11"/>
    <p:sldLayoutId id="2147484120" r:id="rId12"/>
    <p:sldLayoutId id="2147484121" r:id="rId13"/>
    <p:sldLayoutId id="2147484127" r:id="rId14"/>
    <p:sldLayoutId id="2147484128" r:id="rId15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1" kern="1200">
          <a:solidFill>
            <a:schemeClr val="accent1"/>
          </a:solidFill>
          <a:latin typeface="+mj-lt"/>
          <a:ea typeface="ＭＳ Ｐゴシック" charset="-128"/>
          <a:cs typeface="ＭＳ Ｐゴシック" pitchFamily="-111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00A94F"/>
          </a:solidFill>
          <a:latin typeface="Arial" charset="0"/>
          <a:ea typeface="ＭＳ Ｐゴシック" charset="-128"/>
          <a:cs typeface="ＭＳ Ｐゴシック" pitchFamily="-111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00A94F"/>
          </a:solidFill>
          <a:latin typeface="Arial" charset="0"/>
          <a:ea typeface="ＭＳ Ｐゴシック" charset="-128"/>
          <a:cs typeface="ＭＳ Ｐゴシック" pitchFamily="-111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00A94F"/>
          </a:solidFill>
          <a:latin typeface="Arial" charset="0"/>
          <a:ea typeface="ＭＳ Ｐゴシック" charset="-128"/>
          <a:cs typeface="ＭＳ Ｐゴシック" pitchFamily="-111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00A94F"/>
          </a:solidFill>
          <a:latin typeface="Arial" charset="0"/>
          <a:ea typeface="ＭＳ Ｐゴシック" charset="-128"/>
          <a:cs typeface="ＭＳ Ｐゴシック" pitchFamily="-111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00A94F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00A94F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00A94F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00A94F"/>
          </a:solidFill>
          <a:latin typeface="Arial" charset="0"/>
        </a:defRPr>
      </a:lvl9pPr>
    </p:titleStyle>
    <p:bodyStyle>
      <a:lvl1pPr marL="288925" indent="-288925" algn="l" rtl="0" eaLnBrk="1" fontAlgn="base" hangingPunct="1">
        <a:spcBef>
          <a:spcPts val="600"/>
        </a:spcBef>
        <a:spcAft>
          <a:spcPts val="200"/>
        </a:spcAft>
        <a:buClr>
          <a:schemeClr val="accent2"/>
        </a:buClr>
        <a:buSzPct val="100000"/>
        <a:buFont typeface="Arial Bold"/>
        <a:buChar char="+"/>
        <a:defRPr sz="2000" kern="1200">
          <a:solidFill>
            <a:schemeClr val="tx1"/>
          </a:solidFill>
          <a:latin typeface="+mn-lt"/>
          <a:ea typeface="Arial" pitchFamily="-111" charset="0"/>
          <a:cs typeface="Arial" pitchFamily="34" charset="0"/>
        </a:defRPr>
      </a:lvl1pPr>
      <a:lvl2pPr marL="568325" indent="-222250" algn="l" rtl="0" eaLnBrk="1" fontAlgn="base" hangingPunct="1">
        <a:spcBef>
          <a:spcPts val="300"/>
        </a:spcBef>
        <a:spcAft>
          <a:spcPts val="200"/>
        </a:spcAft>
        <a:buClr>
          <a:schemeClr val="accent2"/>
        </a:buClr>
        <a:buFont typeface="Lucida Grande"/>
        <a:buChar char="•"/>
        <a:defRPr sz="1800" kern="1200">
          <a:solidFill>
            <a:schemeClr val="tx1"/>
          </a:solidFill>
          <a:latin typeface="+mn-lt"/>
          <a:ea typeface="Arial" pitchFamily="-111" charset="0"/>
          <a:cs typeface="Arial" charset="0"/>
        </a:defRPr>
      </a:lvl2pPr>
      <a:lvl3pPr marL="857250" indent="-233363" algn="l" rtl="0" eaLnBrk="1" fontAlgn="base" hangingPunct="1">
        <a:spcBef>
          <a:spcPts val="400"/>
        </a:spcBef>
        <a:spcAft>
          <a:spcPts val="200"/>
        </a:spcAft>
        <a:buClr>
          <a:schemeClr val="accent2"/>
        </a:buClr>
        <a:buFont typeface="Lucida Grande"/>
        <a:buChar char="−"/>
        <a:defRPr sz="1600" kern="1200">
          <a:solidFill>
            <a:schemeClr val="tx1"/>
          </a:solidFill>
          <a:latin typeface="+mn-lt"/>
          <a:ea typeface="Arial" pitchFamily="-111" charset="0"/>
          <a:cs typeface="Arial" charset="0"/>
        </a:defRPr>
      </a:lvl3pPr>
      <a:lvl4pPr marL="1081088" indent="-223838" algn="l" rtl="0" eaLnBrk="1" fontAlgn="base" hangingPunct="1">
        <a:spcBef>
          <a:spcPts val="400"/>
        </a:spcBef>
        <a:spcAft>
          <a:spcPts val="200"/>
        </a:spcAft>
        <a:buClr>
          <a:schemeClr val="accent2"/>
        </a:buClr>
        <a:buSzPct val="100000"/>
        <a:buFont typeface="Courier New" charset="0"/>
        <a:buChar char="o"/>
        <a:defRPr sz="1600" kern="1200">
          <a:solidFill>
            <a:schemeClr val="tx1"/>
          </a:solidFill>
          <a:latin typeface="+mn-lt"/>
          <a:ea typeface="Arial" pitchFamily="-111" charset="0"/>
          <a:cs typeface="Arial" charset="0"/>
        </a:defRPr>
      </a:lvl4pPr>
      <a:lvl5pPr marL="1258888" indent="-177800" algn="l" rtl="0" eaLnBrk="1" fontAlgn="base" hangingPunct="1">
        <a:spcBef>
          <a:spcPts val="400"/>
        </a:spcBef>
        <a:spcAft>
          <a:spcPts val="200"/>
        </a:spcAft>
        <a:buClr>
          <a:schemeClr val="accent2"/>
        </a:buClr>
        <a:buFont typeface="Arial" charset="0"/>
        <a:buChar char="»"/>
        <a:defRPr sz="1600" kern="1200">
          <a:solidFill>
            <a:schemeClr val="tx1"/>
          </a:solidFill>
          <a:latin typeface="+mn-lt"/>
          <a:ea typeface="Arial" pitchFamily="-111" charset="0"/>
          <a:cs typeface="Arial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jpe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65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7.xml"/><Relationship Id="rId6" Type="http://schemas.openxmlformats.org/officeDocument/2006/relationships/image" Target="../media/image64.jpeg"/><Relationship Id="rId11" Type="http://schemas.openxmlformats.org/officeDocument/2006/relationships/image" Target="../media/image69.png"/><Relationship Id="rId5" Type="http://schemas.openxmlformats.org/officeDocument/2006/relationships/image" Target="../media/image63.jpeg"/><Relationship Id="rId10" Type="http://schemas.openxmlformats.org/officeDocument/2006/relationships/image" Target="../media/image68.jpeg"/><Relationship Id="rId4" Type="http://schemas.openxmlformats.org/officeDocument/2006/relationships/image" Target="../media/image62.jpeg"/><Relationship Id="rId9" Type="http://schemas.openxmlformats.org/officeDocument/2006/relationships/image" Target="../media/image67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81.png"/><Relationship Id="rId18" Type="http://schemas.openxmlformats.org/officeDocument/2006/relationships/image" Target="../media/image86.png"/><Relationship Id="rId26" Type="http://schemas.openxmlformats.org/officeDocument/2006/relationships/image" Target="../media/image94.jpeg"/><Relationship Id="rId39" Type="http://schemas.openxmlformats.org/officeDocument/2006/relationships/image" Target="../media/image107.png"/><Relationship Id="rId21" Type="http://schemas.openxmlformats.org/officeDocument/2006/relationships/image" Target="../media/image89.png"/><Relationship Id="rId34" Type="http://schemas.openxmlformats.org/officeDocument/2006/relationships/image" Target="../media/image102.png"/><Relationship Id="rId42" Type="http://schemas.openxmlformats.org/officeDocument/2006/relationships/image" Target="../media/image110.png"/><Relationship Id="rId47" Type="http://schemas.openxmlformats.org/officeDocument/2006/relationships/image" Target="../media/image115.gif"/><Relationship Id="rId50" Type="http://schemas.openxmlformats.org/officeDocument/2006/relationships/image" Target="../media/image118.jpeg"/><Relationship Id="rId55" Type="http://schemas.openxmlformats.org/officeDocument/2006/relationships/image" Target="../media/image123.jpeg"/><Relationship Id="rId63" Type="http://schemas.openxmlformats.org/officeDocument/2006/relationships/image" Target="../media/image131.gif"/><Relationship Id="rId68" Type="http://schemas.openxmlformats.org/officeDocument/2006/relationships/image" Target="../media/image136.gif"/><Relationship Id="rId76" Type="http://schemas.openxmlformats.org/officeDocument/2006/relationships/image" Target="../media/image144.jpeg"/><Relationship Id="rId84" Type="http://schemas.openxmlformats.org/officeDocument/2006/relationships/image" Target="../media/image152.png"/><Relationship Id="rId7" Type="http://schemas.openxmlformats.org/officeDocument/2006/relationships/image" Target="../media/image75.png"/><Relationship Id="rId71" Type="http://schemas.openxmlformats.org/officeDocument/2006/relationships/image" Target="../media/image139.jpeg"/><Relationship Id="rId2" Type="http://schemas.openxmlformats.org/officeDocument/2006/relationships/image" Target="../media/image70.png"/><Relationship Id="rId16" Type="http://schemas.openxmlformats.org/officeDocument/2006/relationships/image" Target="../media/image84.png"/><Relationship Id="rId29" Type="http://schemas.openxmlformats.org/officeDocument/2006/relationships/image" Target="../media/image97.png"/><Relationship Id="rId11" Type="http://schemas.openxmlformats.org/officeDocument/2006/relationships/image" Target="../media/image79.jpeg"/><Relationship Id="rId24" Type="http://schemas.openxmlformats.org/officeDocument/2006/relationships/image" Target="../media/image92.png"/><Relationship Id="rId32" Type="http://schemas.openxmlformats.org/officeDocument/2006/relationships/image" Target="../media/image100.png"/><Relationship Id="rId37" Type="http://schemas.openxmlformats.org/officeDocument/2006/relationships/image" Target="../media/image105.png"/><Relationship Id="rId40" Type="http://schemas.openxmlformats.org/officeDocument/2006/relationships/image" Target="../media/image108.jpeg"/><Relationship Id="rId45" Type="http://schemas.openxmlformats.org/officeDocument/2006/relationships/image" Target="../media/image113.jpeg"/><Relationship Id="rId53" Type="http://schemas.openxmlformats.org/officeDocument/2006/relationships/image" Target="../media/image121.png"/><Relationship Id="rId58" Type="http://schemas.openxmlformats.org/officeDocument/2006/relationships/image" Target="../media/image126.gif"/><Relationship Id="rId66" Type="http://schemas.openxmlformats.org/officeDocument/2006/relationships/image" Target="../media/image134.jpeg"/><Relationship Id="rId74" Type="http://schemas.openxmlformats.org/officeDocument/2006/relationships/image" Target="../media/image142.png"/><Relationship Id="rId79" Type="http://schemas.openxmlformats.org/officeDocument/2006/relationships/image" Target="../media/image147.png"/><Relationship Id="rId5" Type="http://schemas.openxmlformats.org/officeDocument/2006/relationships/image" Target="../media/image73.png"/><Relationship Id="rId61" Type="http://schemas.openxmlformats.org/officeDocument/2006/relationships/image" Target="../media/image129.png"/><Relationship Id="rId82" Type="http://schemas.openxmlformats.org/officeDocument/2006/relationships/image" Target="../media/image150.png"/><Relationship Id="rId19" Type="http://schemas.openxmlformats.org/officeDocument/2006/relationships/image" Target="../media/image87.png"/><Relationship Id="rId4" Type="http://schemas.openxmlformats.org/officeDocument/2006/relationships/image" Target="../media/image72.png"/><Relationship Id="rId9" Type="http://schemas.openxmlformats.org/officeDocument/2006/relationships/image" Target="../media/image77.jpeg"/><Relationship Id="rId14" Type="http://schemas.openxmlformats.org/officeDocument/2006/relationships/image" Target="../media/image82.png"/><Relationship Id="rId22" Type="http://schemas.openxmlformats.org/officeDocument/2006/relationships/image" Target="../media/image90.png"/><Relationship Id="rId27" Type="http://schemas.openxmlformats.org/officeDocument/2006/relationships/image" Target="../media/image95.png"/><Relationship Id="rId30" Type="http://schemas.openxmlformats.org/officeDocument/2006/relationships/image" Target="../media/image98.png"/><Relationship Id="rId35" Type="http://schemas.openxmlformats.org/officeDocument/2006/relationships/image" Target="../media/image103.png"/><Relationship Id="rId43" Type="http://schemas.openxmlformats.org/officeDocument/2006/relationships/image" Target="../media/image111.jpeg"/><Relationship Id="rId48" Type="http://schemas.openxmlformats.org/officeDocument/2006/relationships/image" Target="../media/image116.png"/><Relationship Id="rId56" Type="http://schemas.openxmlformats.org/officeDocument/2006/relationships/image" Target="../media/image124.jpeg"/><Relationship Id="rId64" Type="http://schemas.openxmlformats.org/officeDocument/2006/relationships/image" Target="../media/image132.jpeg"/><Relationship Id="rId69" Type="http://schemas.openxmlformats.org/officeDocument/2006/relationships/image" Target="../media/image137.jpeg"/><Relationship Id="rId77" Type="http://schemas.openxmlformats.org/officeDocument/2006/relationships/image" Target="../media/image145.png"/><Relationship Id="rId8" Type="http://schemas.openxmlformats.org/officeDocument/2006/relationships/image" Target="../media/image76.jpeg"/><Relationship Id="rId51" Type="http://schemas.openxmlformats.org/officeDocument/2006/relationships/image" Target="../media/image119.jpeg"/><Relationship Id="rId72" Type="http://schemas.openxmlformats.org/officeDocument/2006/relationships/image" Target="../media/image140.jpeg"/><Relationship Id="rId80" Type="http://schemas.openxmlformats.org/officeDocument/2006/relationships/image" Target="../media/image148.jpeg"/><Relationship Id="rId85" Type="http://schemas.openxmlformats.org/officeDocument/2006/relationships/image" Target="../media/image153.png"/><Relationship Id="rId3" Type="http://schemas.openxmlformats.org/officeDocument/2006/relationships/image" Target="../media/image71.png"/><Relationship Id="rId12" Type="http://schemas.openxmlformats.org/officeDocument/2006/relationships/image" Target="../media/image80.png"/><Relationship Id="rId17" Type="http://schemas.openxmlformats.org/officeDocument/2006/relationships/image" Target="../media/image85.png"/><Relationship Id="rId25" Type="http://schemas.openxmlformats.org/officeDocument/2006/relationships/image" Target="../media/image93.gif"/><Relationship Id="rId33" Type="http://schemas.openxmlformats.org/officeDocument/2006/relationships/image" Target="../media/image101.png"/><Relationship Id="rId38" Type="http://schemas.openxmlformats.org/officeDocument/2006/relationships/image" Target="../media/image106.png"/><Relationship Id="rId46" Type="http://schemas.openxmlformats.org/officeDocument/2006/relationships/image" Target="../media/image114.png"/><Relationship Id="rId59" Type="http://schemas.openxmlformats.org/officeDocument/2006/relationships/image" Target="../media/image127.jpeg"/><Relationship Id="rId67" Type="http://schemas.openxmlformats.org/officeDocument/2006/relationships/image" Target="../media/image135.gif"/><Relationship Id="rId20" Type="http://schemas.openxmlformats.org/officeDocument/2006/relationships/image" Target="../media/image88.png"/><Relationship Id="rId41" Type="http://schemas.openxmlformats.org/officeDocument/2006/relationships/image" Target="../media/image109.jpeg"/><Relationship Id="rId54" Type="http://schemas.openxmlformats.org/officeDocument/2006/relationships/image" Target="../media/image122.jpeg"/><Relationship Id="rId62" Type="http://schemas.openxmlformats.org/officeDocument/2006/relationships/image" Target="../media/image130.jpeg"/><Relationship Id="rId70" Type="http://schemas.openxmlformats.org/officeDocument/2006/relationships/image" Target="../media/image138.gif"/><Relationship Id="rId75" Type="http://schemas.openxmlformats.org/officeDocument/2006/relationships/image" Target="../media/image143.png"/><Relationship Id="rId83" Type="http://schemas.openxmlformats.org/officeDocument/2006/relationships/image" Target="../media/image15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4.png"/><Relationship Id="rId15" Type="http://schemas.openxmlformats.org/officeDocument/2006/relationships/image" Target="../media/image83.png"/><Relationship Id="rId23" Type="http://schemas.openxmlformats.org/officeDocument/2006/relationships/image" Target="../media/image91.png"/><Relationship Id="rId28" Type="http://schemas.openxmlformats.org/officeDocument/2006/relationships/image" Target="../media/image96.png"/><Relationship Id="rId36" Type="http://schemas.openxmlformats.org/officeDocument/2006/relationships/image" Target="../media/image104.png"/><Relationship Id="rId49" Type="http://schemas.openxmlformats.org/officeDocument/2006/relationships/image" Target="../media/image117.png"/><Relationship Id="rId57" Type="http://schemas.openxmlformats.org/officeDocument/2006/relationships/image" Target="../media/image125.jpeg"/><Relationship Id="rId10" Type="http://schemas.openxmlformats.org/officeDocument/2006/relationships/image" Target="../media/image78.png"/><Relationship Id="rId31" Type="http://schemas.openxmlformats.org/officeDocument/2006/relationships/image" Target="../media/image99.jpeg"/><Relationship Id="rId44" Type="http://schemas.openxmlformats.org/officeDocument/2006/relationships/image" Target="../media/image112.png"/><Relationship Id="rId52" Type="http://schemas.openxmlformats.org/officeDocument/2006/relationships/image" Target="../media/image120.png"/><Relationship Id="rId60" Type="http://schemas.openxmlformats.org/officeDocument/2006/relationships/image" Target="../media/image128.jpeg"/><Relationship Id="rId65" Type="http://schemas.openxmlformats.org/officeDocument/2006/relationships/image" Target="../media/image133.png"/><Relationship Id="rId73" Type="http://schemas.openxmlformats.org/officeDocument/2006/relationships/image" Target="../media/image141.gif"/><Relationship Id="rId78" Type="http://schemas.openxmlformats.org/officeDocument/2006/relationships/image" Target="../media/image146.png"/><Relationship Id="rId81" Type="http://schemas.openxmlformats.org/officeDocument/2006/relationships/image" Target="../media/image149.gi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png"/><Relationship Id="rId2" Type="http://schemas.openxmlformats.org/officeDocument/2006/relationships/image" Target="../media/image154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56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jpeg"/><Relationship Id="rId2" Type="http://schemas.openxmlformats.org/officeDocument/2006/relationships/image" Target="../media/image157.jpeg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2" Type="http://schemas.openxmlformats.org/officeDocument/2006/relationships/image" Target="../media/image159.jp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jpeg"/><Relationship Id="rId2" Type="http://schemas.openxmlformats.org/officeDocument/2006/relationships/hyperlink" Target="mailto:dave.aasheim@chargepoint.com" TargetMode="Externa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insideevs.com/monthly-plug-in-sales-scorecard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image" Target="../media/image5.png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image" Target="../media/image7.jpeg"/><Relationship Id="rId47" Type="http://schemas.openxmlformats.org/officeDocument/2006/relationships/image" Target="../media/image12.jpeg"/><Relationship Id="rId50" Type="http://schemas.openxmlformats.org/officeDocument/2006/relationships/image" Target="../media/image15.jpeg"/><Relationship Id="rId55" Type="http://schemas.openxmlformats.org/officeDocument/2006/relationships/image" Target="../media/image20.png"/><Relationship Id="rId63" Type="http://schemas.openxmlformats.org/officeDocument/2006/relationships/image" Target="../media/image26.png"/><Relationship Id="rId68" Type="http://schemas.openxmlformats.org/officeDocument/2006/relationships/image" Target="../media/image31.png"/><Relationship Id="rId76" Type="http://schemas.openxmlformats.org/officeDocument/2006/relationships/image" Target="../media/image39.png"/><Relationship Id="rId7" Type="http://schemas.openxmlformats.org/officeDocument/2006/relationships/tags" Target="../tags/tag7.xml"/><Relationship Id="rId71" Type="http://schemas.openxmlformats.org/officeDocument/2006/relationships/image" Target="../media/image34.tiff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slideLayout" Target="../slideLayouts/slideLayout8.xml"/><Relationship Id="rId40" Type="http://schemas.microsoft.com/office/2007/relationships/hdphoto" Target="../media/hdphoto1.wdp"/><Relationship Id="rId45" Type="http://schemas.openxmlformats.org/officeDocument/2006/relationships/image" Target="../media/image10.jpeg"/><Relationship Id="rId53" Type="http://schemas.openxmlformats.org/officeDocument/2006/relationships/image" Target="../media/image18.jpeg"/><Relationship Id="rId58" Type="http://schemas.openxmlformats.org/officeDocument/2006/relationships/image" Target="../media/image23.png"/><Relationship Id="rId66" Type="http://schemas.openxmlformats.org/officeDocument/2006/relationships/image" Target="../media/image29.png"/><Relationship Id="rId74" Type="http://schemas.openxmlformats.org/officeDocument/2006/relationships/image" Target="../media/image37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image" Target="../media/image14.jpeg"/><Relationship Id="rId57" Type="http://schemas.openxmlformats.org/officeDocument/2006/relationships/image" Target="../media/image22.png"/><Relationship Id="rId61" Type="http://schemas.microsoft.com/office/2007/relationships/hdphoto" Target="../media/hdphoto3.wdp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image" Target="../media/image9.png"/><Relationship Id="rId52" Type="http://schemas.openxmlformats.org/officeDocument/2006/relationships/image" Target="../media/image17.jpeg"/><Relationship Id="rId60" Type="http://schemas.openxmlformats.org/officeDocument/2006/relationships/image" Target="../media/image24.png"/><Relationship Id="rId65" Type="http://schemas.openxmlformats.org/officeDocument/2006/relationships/image" Target="../media/image28.png"/><Relationship Id="rId73" Type="http://schemas.openxmlformats.org/officeDocument/2006/relationships/image" Target="../media/image36.tiff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image" Target="../media/image8.jpeg"/><Relationship Id="rId48" Type="http://schemas.openxmlformats.org/officeDocument/2006/relationships/image" Target="../media/image13.jpeg"/><Relationship Id="rId56" Type="http://schemas.openxmlformats.org/officeDocument/2006/relationships/image" Target="../media/image21.png"/><Relationship Id="rId64" Type="http://schemas.openxmlformats.org/officeDocument/2006/relationships/image" Target="../media/image27.png"/><Relationship Id="rId69" Type="http://schemas.openxmlformats.org/officeDocument/2006/relationships/image" Target="../media/image32.png"/><Relationship Id="rId8" Type="http://schemas.openxmlformats.org/officeDocument/2006/relationships/tags" Target="../tags/tag8.xml"/><Relationship Id="rId51" Type="http://schemas.openxmlformats.org/officeDocument/2006/relationships/image" Target="../media/image16.jpeg"/><Relationship Id="rId72" Type="http://schemas.openxmlformats.org/officeDocument/2006/relationships/image" Target="../media/image35.png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notesSlide" Target="../notesSlides/notesSlide4.xml"/><Relationship Id="rId46" Type="http://schemas.openxmlformats.org/officeDocument/2006/relationships/image" Target="../media/image11.png"/><Relationship Id="rId59" Type="http://schemas.microsoft.com/office/2007/relationships/hdphoto" Target="../media/hdphoto2.wdp"/><Relationship Id="rId67" Type="http://schemas.openxmlformats.org/officeDocument/2006/relationships/image" Target="../media/image30.png"/><Relationship Id="rId20" Type="http://schemas.openxmlformats.org/officeDocument/2006/relationships/tags" Target="../tags/tag20.xml"/><Relationship Id="rId41" Type="http://schemas.openxmlformats.org/officeDocument/2006/relationships/image" Target="../media/image6.jpeg"/><Relationship Id="rId54" Type="http://schemas.openxmlformats.org/officeDocument/2006/relationships/image" Target="../media/image19.jpeg"/><Relationship Id="rId62" Type="http://schemas.openxmlformats.org/officeDocument/2006/relationships/image" Target="../media/image25.png"/><Relationship Id="rId70" Type="http://schemas.openxmlformats.org/officeDocument/2006/relationships/image" Target="../media/image33.png"/><Relationship Id="rId75" Type="http://schemas.openxmlformats.org/officeDocument/2006/relationships/image" Target="../media/image38.png"/><Relationship Id="rId1" Type="http://schemas.openxmlformats.org/officeDocument/2006/relationships/tags" Target="../tags/tag1.xml"/><Relationship Id="rId6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5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5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ady for the EV Revolution?</a:t>
            </a:r>
          </a:p>
        </p:txBody>
      </p:sp>
      <p:sp>
        <p:nvSpPr>
          <p:cNvPr id="8195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>
                <a:ea typeface="Arial" pitchFamily="-106" charset="0"/>
                <a:cs typeface="Arial" pitchFamily="-106" charset="0"/>
              </a:rPr>
              <a:t>Dave Aasheim, Sales Director South Central US</a:t>
            </a:r>
            <a:endParaRPr lang="en-US" dirty="0">
              <a:ea typeface="Arial" pitchFamily="-106" charset="0"/>
              <a:cs typeface="Arial" pitchFamily="-106" charset="0"/>
            </a:endParaRPr>
          </a:p>
        </p:txBody>
      </p:sp>
      <p:sp>
        <p:nvSpPr>
          <p:cNvPr id="8196" name="Text Placehold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>
                <a:ea typeface="Arial" pitchFamily="-106" charset="0"/>
                <a:cs typeface="Arial" pitchFamily="-106" charset="0"/>
              </a:rPr>
              <a:t>November 14, </a:t>
            </a:r>
            <a:r>
              <a:rPr lang="en-US" dirty="0" smtClean="0">
                <a:ea typeface="Arial" pitchFamily="-106" charset="0"/>
                <a:cs typeface="Arial" pitchFamily="-106" charset="0"/>
              </a:rPr>
              <a:t>2017</a:t>
            </a:r>
            <a:endParaRPr lang="en-US" dirty="0">
              <a:ea typeface="Arial" pitchFamily="-106" charset="0"/>
              <a:cs typeface="Arial" pitchFamily="-106" charset="0"/>
            </a:endParaRPr>
          </a:p>
        </p:txBody>
      </p:sp>
      <p:pic>
        <p:nvPicPr>
          <p:cNvPr id="1026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2200" y="4248150"/>
            <a:ext cx="2674937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85750"/>
            <a:ext cx="7048500" cy="800219"/>
          </a:xfrm>
        </p:spPr>
        <p:txBody>
          <a:bodyPr/>
          <a:lstStyle/>
          <a:p>
            <a:r>
              <a:rPr lang="en-US" dirty="0"/>
              <a:t>Networked vs. Non-Networked Summary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5512409"/>
              </p:ext>
            </p:extLst>
          </p:nvPr>
        </p:nvGraphicFramePr>
        <p:xfrm>
          <a:off x="1981200" y="742949"/>
          <a:ext cx="5029200" cy="406908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819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227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ability</a:t>
                      </a:r>
                    </a:p>
                  </a:txBody>
                  <a:tcPr marL="68580" marR="68580" marT="34290" marB="34290" anchor="ctr">
                    <a:solidFill>
                      <a:srgbClr val="F96A1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worked Chargers</a:t>
                      </a:r>
                    </a:p>
                  </a:txBody>
                  <a:tcPr marL="68580" marR="68580" anchor="ctr">
                    <a:solidFill>
                      <a:srgbClr val="F96A1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n-Networked Chargers</a:t>
                      </a:r>
                    </a:p>
                  </a:txBody>
                  <a:tcPr marL="68580" marR="68580" anchor="ctr">
                    <a:solidFill>
                      <a:srgbClr val="F96A1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7961">
                <a:tc>
                  <a:txBody>
                    <a:bodyPr/>
                    <a:lstStyle/>
                    <a:p>
                      <a:r>
                        <a:rPr lang="en-US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fer</a:t>
                      </a:r>
                      <a:r>
                        <a:rPr lang="en-US" sz="1100" b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ctricity</a:t>
                      </a:r>
                      <a:endParaRPr lang="en-US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68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solidFill>
                            <a:srgbClr val="3CA915"/>
                          </a:solidFill>
                          <a:latin typeface="Wingdings" panose="05000000000000000000" pitchFamily="2" charset="2"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dirty="0">
                        <a:solidFill>
                          <a:srgbClr val="3CA915"/>
                        </a:solidFill>
                        <a:latin typeface="Wingdings" panose="05000000000000000000" pitchFamily="2" charset="2"/>
                      </a:endParaRPr>
                    </a:p>
                  </a:txBody>
                  <a:tcPr marL="68580" marR="68580" marT="34290" marB="3429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68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solidFill>
                            <a:srgbClr val="60A716"/>
                          </a:solidFill>
                          <a:latin typeface="Wingdings" panose="05000000000000000000" pitchFamily="2" charset="2"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dirty="0">
                        <a:solidFill>
                          <a:srgbClr val="60A716"/>
                        </a:solidFill>
                        <a:latin typeface="Wingdings" panose="05000000000000000000" pitchFamily="2" charset="2"/>
                      </a:endParaRPr>
                    </a:p>
                  </a:txBody>
                  <a:tcPr marL="68580" marR="68580" marT="34290" marB="3429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4738">
                <a:tc>
                  <a:txBody>
                    <a:bodyPr/>
                    <a:lstStyle/>
                    <a:p>
                      <a:r>
                        <a:rPr lang="en-US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sibility to </a:t>
                      </a:r>
                      <a:r>
                        <a:rPr lang="en-US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ivers </a:t>
                      </a:r>
                      <a:endParaRPr lang="en-US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through mobile app, in-dash navigation)</a:t>
                      </a:r>
                    </a:p>
                  </a:txBody>
                  <a:tcPr marL="68580" marR="6858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68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solidFill>
                            <a:srgbClr val="3CA915"/>
                          </a:solidFill>
                          <a:latin typeface="Wingdings" panose="05000000000000000000" pitchFamily="2" charset="2"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dirty="0">
                        <a:solidFill>
                          <a:srgbClr val="3CA915"/>
                        </a:solidFill>
                        <a:latin typeface="Wingdings" panose="05000000000000000000" pitchFamily="2" charset="2"/>
                      </a:endParaRPr>
                    </a:p>
                  </a:txBody>
                  <a:tcPr marL="68580" marR="68580" marT="34290" marB="3429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FF0000"/>
                          </a:solidFill>
                          <a:latin typeface="Webdings" panose="05030102010509060703" pitchFamily="18" charset="2"/>
                          <a:sym typeface="Webdings" panose="05030102010509060703" pitchFamily="18" charset="2"/>
                        </a:rPr>
                        <a:t></a:t>
                      </a:r>
                      <a:endParaRPr lang="en-US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3003">
                <a:tc>
                  <a:txBody>
                    <a:bodyPr/>
                    <a:lstStyle/>
                    <a:p>
                      <a:r>
                        <a:rPr lang="en-US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ility to charge and recover cost</a:t>
                      </a:r>
                    </a:p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by kWh, hours of usage,</a:t>
                      </a:r>
                      <a:r>
                        <a:rPr lang="en-US" sz="11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me of use, etc.)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68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solidFill>
                            <a:srgbClr val="3CA915"/>
                          </a:solidFill>
                          <a:latin typeface="Wingdings" panose="05000000000000000000" pitchFamily="2" charset="2"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dirty="0">
                        <a:solidFill>
                          <a:srgbClr val="3CA915"/>
                        </a:solidFill>
                        <a:latin typeface="Wingdings" panose="05000000000000000000" pitchFamily="2" charset="2"/>
                      </a:endParaRPr>
                    </a:p>
                  </a:txBody>
                  <a:tcPr marL="68580" marR="68580" marT="34290" marB="3429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FF0000"/>
                          </a:solidFill>
                          <a:latin typeface="Webdings" panose="05030102010509060703" pitchFamily="18" charset="2"/>
                          <a:sym typeface="Webdings" panose="05030102010509060703" pitchFamily="18" charset="2"/>
                        </a:rPr>
                        <a:t></a:t>
                      </a:r>
                      <a:endParaRPr lang="en-US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4888">
                <a:tc>
                  <a:txBody>
                    <a:bodyPr/>
                    <a:lstStyle/>
                    <a:p>
                      <a:r>
                        <a:rPr lang="en-US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ess</a:t>
                      </a:r>
                      <a:r>
                        <a:rPr lang="en-US" sz="1100" b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rol</a:t>
                      </a:r>
                      <a:endParaRPr lang="en-US" sz="1100" b="1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1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employees only, public, loyalty rewards)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68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solidFill>
                            <a:srgbClr val="3CA915"/>
                          </a:solidFill>
                          <a:latin typeface="Wingdings" panose="05000000000000000000" pitchFamily="2" charset="2"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dirty="0">
                        <a:solidFill>
                          <a:srgbClr val="3CA915"/>
                        </a:solidFill>
                        <a:latin typeface="Wingdings" panose="05000000000000000000" pitchFamily="2" charset="2"/>
                      </a:endParaRPr>
                    </a:p>
                  </a:txBody>
                  <a:tcPr marL="68580" marR="68580" marT="34290" marB="3429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FF0000"/>
                          </a:solidFill>
                          <a:latin typeface="Webdings" panose="05030102010509060703" pitchFamily="18" charset="2"/>
                          <a:sym typeface="Webdings" panose="05030102010509060703" pitchFamily="18" charset="2"/>
                        </a:rPr>
                        <a:t></a:t>
                      </a:r>
                      <a:endParaRPr lang="en-US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4738">
                <a:tc>
                  <a:txBody>
                    <a:bodyPr/>
                    <a:lstStyle/>
                    <a:p>
                      <a:r>
                        <a:rPr lang="en-US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mote access and maintenance</a:t>
                      </a:r>
                    </a:p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heck status, availability, etc.)</a:t>
                      </a:r>
                    </a:p>
                  </a:txBody>
                  <a:tcPr marL="68580" marR="685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68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solidFill>
                            <a:srgbClr val="3CA915"/>
                          </a:solidFill>
                          <a:latin typeface="Wingdings" panose="05000000000000000000" pitchFamily="2" charset="2"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dirty="0">
                        <a:solidFill>
                          <a:srgbClr val="3CA915"/>
                        </a:solidFill>
                        <a:latin typeface="Wingdings" panose="05000000000000000000" pitchFamily="2" charset="2"/>
                      </a:endParaRPr>
                    </a:p>
                  </a:txBody>
                  <a:tcPr marL="68580" marR="68580" marT="34290" marB="3429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FF0000"/>
                          </a:solidFill>
                          <a:latin typeface="Webdings" panose="05030102010509060703" pitchFamily="18" charset="2"/>
                          <a:sym typeface="Webdings" panose="05030102010509060703" pitchFamily="18" charset="2"/>
                        </a:rPr>
                        <a:t></a:t>
                      </a:r>
                      <a:endParaRPr lang="en-US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11515">
                <a:tc>
                  <a:txBody>
                    <a:bodyPr/>
                    <a:lstStyle/>
                    <a:p>
                      <a:r>
                        <a:rPr lang="en-US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alytics</a:t>
                      </a:r>
                    </a:p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usage, # of unique drivers, charging behavior, utilization, revenue, and costs)</a:t>
                      </a:r>
                    </a:p>
                  </a:txBody>
                  <a:tcPr marL="68580" marR="6858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68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solidFill>
                            <a:srgbClr val="3CA915"/>
                          </a:solidFill>
                          <a:latin typeface="Wingdings" panose="05000000000000000000" pitchFamily="2" charset="2"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dirty="0">
                        <a:solidFill>
                          <a:srgbClr val="3CA915"/>
                        </a:solidFill>
                        <a:latin typeface="Wingdings" panose="05000000000000000000" pitchFamily="2" charset="2"/>
                      </a:endParaRPr>
                    </a:p>
                  </a:txBody>
                  <a:tcPr marL="68580" marR="68580" marT="34290" marB="3429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68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FF0000"/>
                          </a:solidFill>
                          <a:latin typeface="Webdings" panose="05030102010509060703" pitchFamily="18" charset="2"/>
                          <a:sym typeface="Webdings" panose="05030102010509060703" pitchFamily="18" charset="2"/>
                        </a:rPr>
                        <a:t></a:t>
                      </a:r>
                      <a:endParaRPr lang="en-US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4738">
                <a:tc>
                  <a:txBody>
                    <a:bodyPr/>
                    <a:lstStyle/>
                    <a:p>
                      <a:r>
                        <a:rPr lang="en-US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tainability</a:t>
                      </a:r>
                      <a:r>
                        <a:rPr lang="en-US" sz="1100" b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porting</a:t>
                      </a:r>
                    </a:p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GHG savings, fuel savings)</a:t>
                      </a:r>
                    </a:p>
                  </a:txBody>
                  <a:tcPr marL="68580" marR="685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68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solidFill>
                            <a:srgbClr val="3CA915"/>
                          </a:solidFill>
                          <a:latin typeface="Wingdings" panose="05000000000000000000" pitchFamily="2" charset="2"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dirty="0">
                        <a:solidFill>
                          <a:srgbClr val="3CA915"/>
                        </a:solidFill>
                        <a:latin typeface="Wingdings" panose="05000000000000000000" pitchFamily="2" charset="2"/>
                      </a:endParaRPr>
                    </a:p>
                  </a:txBody>
                  <a:tcPr marL="68580" marR="68580" marT="34290" marB="3429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68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FF0000"/>
                          </a:solidFill>
                          <a:latin typeface="Webdings" panose="05030102010509060703" pitchFamily="18" charset="2"/>
                          <a:sym typeface="Webdings" panose="05030102010509060703" pitchFamily="18" charset="2"/>
                        </a:rPr>
                        <a:t></a:t>
                      </a:r>
                      <a:endParaRPr lang="en-US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6868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rgbClr val="60A716"/>
                        </a:solidFill>
                        <a:latin typeface="Wingdings" panose="05000000000000000000" pitchFamily="2" charset="2"/>
                      </a:endParaRPr>
                    </a:p>
                  </a:txBody>
                  <a:tcPr marL="68580" marR="68580" marT="34290" marB="3429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8" name="Picture 2" descr="http://carstations.com/wp-content/uploads/Morro-Bay-Transit-Morro-Bay-CA-EV-Charging-Station-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893" r="33785" b="38693"/>
          <a:stretch/>
        </p:blipFill>
        <p:spPr bwMode="auto">
          <a:xfrm>
            <a:off x="7315199" y="1733550"/>
            <a:ext cx="1713039" cy="2514600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55" t="-1" r="28347" b="1345"/>
          <a:stretch/>
        </p:blipFill>
        <p:spPr>
          <a:xfrm>
            <a:off x="471715" y="971550"/>
            <a:ext cx="1219200" cy="3657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696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21251" y="982226"/>
            <a:ext cx="2679749" cy="1771650"/>
          </a:xfrm>
        </p:spPr>
        <p:txBody>
          <a:bodyPr>
            <a:noAutofit/>
          </a:bodyPr>
          <a:lstStyle/>
          <a:p>
            <a:pPr algn="l"/>
            <a:r>
              <a:rPr lang="en-US" sz="2700" dirty="0">
                <a:solidFill>
                  <a:schemeClr val="accent1"/>
                </a:solidFill>
              </a:rPr>
              <a:t>Charging Station </a:t>
            </a:r>
            <a:br>
              <a:rPr lang="en-US" sz="2700" dirty="0">
                <a:solidFill>
                  <a:schemeClr val="accent1"/>
                </a:solidFill>
              </a:rPr>
            </a:br>
            <a:r>
              <a:rPr lang="en-US" sz="2700" dirty="0">
                <a:solidFill>
                  <a:schemeClr val="accent1"/>
                </a:solidFill>
              </a:rPr>
              <a:t>Design and Planning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1600" y="1047750"/>
            <a:ext cx="3849624" cy="2587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632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and Planning Conside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971550"/>
            <a:ext cx="6934200" cy="3543300"/>
          </a:xfrm>
        </p:spPr>
        <p:txBody>
          <a:bodyPr/>
          <a:lstStyle/>
          <a:p>
            <a:r>
              <a:rPr lang="en-US" sz="2400" dirty="0"/>
              <a:t>Proximity to power source</a:t>
            </a:r>
          </a:p>
          <a:p>
            <a:r>
              <a:rPr lang="en-US" sz="2400" dirty="0"/>
              <a:t>Proximity to building entrance</a:t>
            </a:r>
          </a:p>
          <a:p>
            <a:r>
              <a:rPr lang="en-US" sz="2400" dirty="0"/>
              <a:t>Potential trenching</a:t>
            </a:r>
          </a:p>
          <a:p>
            <a:r>
              <a:rPr lang="en-US" sz="2400" dirty="0"/>
              <a:t>Lighting and security</a:t>
            </a:r>
          </a:p>
          <a:p>
            <a:r>
              <a:rPr lang="en-US" sz="2400" dirty="0"/>
              <a:t>Pooled water and irrigation</a:t>
            </a:r>
          </a:p>
          <a:p>
            <a:r>
              <a:rPr lang="en-US" sz="2400" dirty="0"/>
              <a:t>Visibility and signage</a:t>
            </a:r>
          </a:p>
          <a:p>
            <a:r>
              <a:rPr lang="en-US" sz="2400" dirty="0"/>
              <a:t>Accessibility and ADA</a:t>
            </a:r>
          </a:p>
        </p:txBody>
      </p:sp>
      <p:pic>
        <p:nvPicPr>
          <p:cNvPr id="4" name="Picture Placeholder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49" t="1440" b="306"/>
          <a:stretch/>
        </p:blipFill>
        <p:spPr>
          <a:xfrm>
            <a:off x="4808666" y="966148"/>
            <a:ext cx="4320549" cy="267240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86" r="19962"/>
          <a:stretch/>
        </p:blipFill>
        <p:spPr>
          <a:xfrm>
            <a:off x="4524375" y="3397201"/>
            <a:ext cx="1291219" cy="1358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410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65971" y="1200150"/>
            <a:ext cx="2417164" cy="642938"/>
          </a:xfrm>
        </p:spPr>
        <p:txBody>
          <a:bodyPr>
            <a:noAutofit/>
          </a:bodyPr>
          <a:lstStyle/>
          <a:p>
            <a:pPr algn="l"/>
            <a:r>
              <a:rPr lang="en-US" sz="2700" dirty="0">
                <a:solidFill>
                  <a:schemeClr val="accent1"/>
                </a:solidFill>
              </a:rPr>
              <a:t>Charging Station Installation </a:t>
            </a:r>
            <a:r>
              <a:rPr lang="en-US" sz="2700" dirty="0"/>
              <a:t>	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1600" y="1123950"/>
            <a:ext cx="3922776" cy="2592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352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514350"/>
            <a:ext cx="7086600" cy="800219"/>
          </a:xfrm>
        </p:spPr>
        <p:txBody>
          <a:bodyPr/>
          <a:lstStyle/>
          <a:p>
            <a:r>
              <a:rPr lang="en-US" dirty="0"/>
              <a:t>Types of Installation Costs and Cost Driv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47750"/>
            <a:ext cx="5257800" cy="3657600"/>
          </a:xfrm>
        </p:spPr>
        <p:txBody>
          <a:bodyPr/>
          <a:lstStyle/>
          <a:p>
            <a:pPr lvl="0"/>
            <a:r>
              <a:rPr lang="en-US" b="1" dirty="0" smtClean="0"/>
              <a:t>Most </a:t>
            </a:r>
            <a:r>
              <a:rPr lang="en-US" b="1" dirty="0"/>
              <a:t>C</a:t>
            </a:r>
            <a:r>
              <a:rPr lang="en-US" b="1" dirty="0" smtClean="0"/>
              <a:t>ommon </a:t>
            </a:r>
            <a:r>
              <a:rPr lang="en-US" b="1" dirty="0"/>
              <a:t>I</a:t>
            </a:r>
            <a:r>
              <a:rPr lang="en-US" b="1" dirty="0" smtClean="0"/>
              <a:t>nstallation </a:t>
            </a:r>
            <a:r>
              <a:rPr lang="en-US" b="1" dirty="0" smtClean="0"/>
              <a:t>Costs</a:t>
            </a:r>
            <a:endParaRPr lang="en-US" b="1" dirty="0"/>
          </a:p>
          <a:p>
            <a:pPr marL="338138" lvl="1" indent="-128588">
              <a:buFont typeface="Arial" panose="020B0604020202020204" pitchFamily="34" charset="0"/>
              <a:buChar char="•"/>
            </a:pPr>
            <a:r>
              <a:rPr lang="en-US" dirty="0" smtClean="0"/>
              <a:t>Labor</a:t>
            </a:r>
          </a:p>
          <a:p>
            <a:pPr marL="338138" lvl="1" indent="-128588">
              <a:buFont typeface="Arial" panose="020B0604020202020204" pitchFamily="34" charset="0"/>
              <a:buChar char="•"/>
            </a:pPr>
            <a:r>
              <a:rPr lang="en-US" dirty="0" smtClean="0"/>
              <a:t>Materials </a:t>
            </a:r>
            <a:endParaRPr lang="en-US" dirty="0"/>
          </a:p>
          <a:p>
            <a:pPr marL="338138" lvl="1" indent="-128588">
              <a:buFont typeface="Arial" panose="020B0604020202020204" pitchFamily="34" charset="0"/>
              <a:buChar char="•"/>
            </a:pPr>
            <a:r>
              <a:rPr lang="en-US" dirty="0"/>
              <a:t>Electrical service upgrades </a:t>
            </a:r>
          </a:p>
          <a:p>
            <a:pPr marL="338138" lvl="1" indent="-128588">
              <a:buFont typeface="Arial" panose="020B0604020202020204" pitchFamily="34" charset="0"/>
              <a:buChar char="•"/>
            </a:pPr>
            <a:r>
              <a:rPr lang="en-US" dirty="0"/>
              <a:t>Trenching, boring or </a:t>
            </a:r>
            <a:r>
              <a:rPr lang="en-US" dirty="0" smtClean="0"/>
              <a:t>x-ray</a:t>
            </a:r>
          </a:p>
          <a:p>
            <a:pPr marL="209550" lvl="1" indent="0">
              <a:buNone/>
            </a:pPr>
            <a:endParaRPr lang="en-US" dirty="0"/>
          </a:p>
          <a:p>
            <a:r>
              <a:rPr lang="en-US" b="1" dirty="0"/>
              <a:t>Other </a:t>
            </a:r>
            <a:r>
              <a:rPr lang="en-US" b="1" dirty="0" smtClean="0"/>
              <a:t>Costs</a:t>
            </a:r>
            <a:endParaRPr lang="en-US" b="1" dirty="0"/>
          </a:p>
          <a:p>
            <a:pPr marL="338138" lvl="1" indent="-128588">
              <a:buFont typeface="Arial" panose="020B0604020202020204" pitchFamily="34" charset="0"/>
              <a:buChar char="•"/>
            </a:pPr>
            <a:r>
              <a:rPr lang="en-US" dirty="0">
                <a:latin typeface="Arial" pitchFamily="34" charset="0"/>
              </a:rPr>
              <a:t>Repaving/repairing parking lots and walkways</a:t>
            </a:r>
          </a:p>
          <a:p>
            <a:pPr marL="338138" lvl="1" indent="-128588">
              <a:buFont typeface="Arial" panose="020B0604020202020204" pitchFamily="34" charset="0"/>
              <a:buChar char="•"/>
            </a:pPr>
            <a:r>
              <a:rPr lang="en-US" dirty="0">
                <a:latin typeface="Arial" pitchFamily="34" charset="0"/>
              </a:rPr>
              <a:t>Permits</a:t>
            </a:r>
          </a:p>
          <a:p>
            <a:pPr marL="338138" lvl="1" indent="-128588">
              <a:buFont typeface="Arial" panose="020B0604020202020204" pitchFamily="34" charset="0"/>
              <a:buChar char="•"/>
            </a:pPr>
            <a:r>
              <a:rPr lang="en-US" dirty="0">
                <a:latin typeface="Arial" pitchFamily="34" charset="0"/>
              </a:rPr>
              <a:t>Signage and restriping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endParaRPr lang="en-US" sz="1350" dirty="0"/>
          </a:p>
        </p:txBody>
      </p:sp>
      <p:sp>
        <p:nvSpPr>
          <p:cNvPr id="4" name="TextBox 3"/>
          <p:cNvSpPr txBox="1"/>
          <p:nvPr/>
        </p:nvSpPr>
        <p:spPr>
          <a:xfrm>
            <a:off x="5715000" y="1200151"/>
            <a:ext cx="3200400" cy="228780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>
              <a:spcBef>
                <a:spcPct val="20000"/>
              </a:spcBef>
            </a:pPr>
            <a:r>
              <a:rPr lang="en-US" dirty="0">
                <a:solidFill>
                  <a:srgbClr val="1C1C1C"/>
                </a:solidFill>
                <a:latin typeface="Arial" pitchFamily="34" charset="0"/>
                <a:cs typeface="Arial" pitchFamily="34" charset="0"/>
              </a:rPr>
              <a:t>For Level 2 commercial EVSE, the installation cost break down is approximately:</a:t>
            </a:r>
          </a:p>
          <a:p>
            <a:pPr marL="128588" indent="-128588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C1C1C"/>
                </a:solidFill>
                <a:latin typeface="Arial" pitchFamily="34" charset="0"/>
                <a:cs typeface="Arial" pitchFamily="34" charset="0"/>
              </a:rPr>
              <a:t>Labor: </a:t>
            </a:r>
            <a:r>
              <a:rPr lang="en-US" dirty="0" smtClean="0">
                <a:solidFill>
                  <a:srgbClr val="1C1C1C"/>
                </a:solidFill>
                <a:latin typeface="Arial" pitchFamily="34" charset="0"/>
                <a:cs typeface="Arial" pitchFamily="34" charset="0"/>
              </a:rPr>
              <a:t>55-60</a:t>
            </a:r>
            <a:r>
              <a:rPr lang="en-US" dirty="0">
                <a:solidFill>
                  <a:srgbClr val="1C1C1C"/>
                </a:solidFill>
                <a:latin typeface="Arial" pitchFamily="34" charset="0"/>
                <a:cs typeface="Arial" pitchFamily="34" charset="0"/>
              </a:rPr>
              <a:t>% </a:t>
            </a:r>
          </a:p>
          <a:p>
            <a:pPr marL="128588" indent="-128588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C1C1C"/>
                </a:solidFill>
                <a:latin typeface="Arial" pitchFamily="34" charset="0"/>
                <a:cs typeface="Arial" pitchFamily="34" charset="0"/>
              </a:rPr>
              <a:t>Materials: </a:t>
            </a:r>
            <a:r>
              <a:rPr lang="en-US" dirty="0" smtClean="0">
                <a:solidFill>
                  <a:srgbClr val="1C1C1C"/>
                </a:solidFill>
                <a:latin typeface="Arial" pitchFamily="34" charset="0"/>
                <a:cs typeface="Arial" pitchFamily="34" charset="0"/>
              </a:rPr>
              <a:t>30-35</a:t>
            </a:r>
            <a:r>
              <a:rPr lang="en-US" dirty="0">
                <a:solidFill>
                  <a:srgbClr val="1C1C1C"/>
                </a:solidFill>
                <a:latin typeface="Arial" pitchFamily="34" charset="0"/>
                <a:cs typeface="Arial" pitchFamily="34" charset="0"/>
              </a:rPr>
              <a:t>% </a:t>
            </a:r>
          </a:p>
          <a:p>
            <a:pPr marL="128588" indent="-128588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C1C1C"/>
                </a:solidFill>
                <a:latin typeface="Arial" pitchFamily="34" charset="0"/>
                <a:cs typeface="Arial" pitchFamily="34" charset="0"/>
              </a:rPr>
              <a:t>Permits: </a:t>
            </a:r>
            <a:r>
              <a:rPr lang="en-US" dirty="0" smtClean="0">
                <a:solidFill>
                  <a:srgbClr val="1C1C1C"/>
                </a:solidFill>
                <a:latin typeface="Arial" pitchFamily="34" charset="0"/>
                <a:cs typeface="Arial" pitchFamily="34" charset="0"/>
              </a:rPr>
              <a:t>1-5</a:t>
            </a:r>
            <a:r>
              <a:rPr lang="en-US" dirty="0">
                <a:solidFill>
                  <a:srgbClr val="1C1C1C"/>
                </a:solidFill>
                <a:latin typeface="Arial" pitchFamily="34" charset="0"/>
                <a:cs typeface="Arial" pitchFamily="34" charset="0"/>
              </a:rPr>
              <a:t>% </a:t>
            </a:r>
          </a:p>
          <a:p>
            <a:pPr marL="128588" indent="-128588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C1C1C"/>
                </a:solidFill>
                <a:latin typeface="Arial" pitchFamily="34" charset="0"/>
                <a:cs typeface="Arial" pitchFamily="34" charset="0"/>
              </a:rPr>
              <a:t>Tax: 5%</a:t>
            </a:r>
          </a:p>
        </p:txBody>
      </p:sp>
    </p:spTree>
    <p:extLst>
      <p:ext uri="{BB962C8B-B14F-4D97-AF65-F5344CB8AC3E}">
        <p14:creationId xmlns:p14="http://schemas.microsoft.com/office/powerpoint/2010/main" val="3286731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490" y="361950"/>
            <a:ext cx="8305800" cy="400110"/>
          </a:xfrm>
        </p:spPr>
        <p:txBody>
          <a:bodyPr/>
          <a:lstStyle/>
          <a:p>
            <a:r>
              <a:rPr lang="en-US" dirty="0"/>
              <a:t>Best Practices for Installation</a:t>
            </a:r>
          </a:p>
        </p:txBody>
      </p:sp>
      <p:sp>
        <p:nvSpPr>
          <p:cNvPr id="7" name="Line 3"/>
          <p:cNvSpPr>
            <a:spLocks noChangeShapeType="1"/>
          </p:cNvSpPr>
          <p:nvPr/>
        </p:nvSpPr>
        <p:spPr bwMode="auto">
          <a:xfrm flipH="1">
            <a:off x="4914900" y="1428750"/>
            <a:ext cx="0" cy="2686050"/>
          </a:xfrm>
          <a:prstGeom prst="line">
            <a:avLst/>
          </a:prstGeom>
          <a:noFill/>
          <a:ln w="12700" cap="flat">
            <a:solidFill>
              <a:srgbClr val="888888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CA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7800" y="1047750"/>
            <a:ext cx="3505200" cy="3505200"/>
          </a:xfrm>
          <a:prstGeom prst="rect">
            <a:avLst/>
          </a:prstGeom>
        </p:spPr>
      </p:pic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674490" y="895350"/>
            <a:ext cx="4049910" cy="3419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288925" indent="-288925" algn="l" rtl="0" eaLnBrk="1" fontAlgn="base" hangingPunct="1">
              <a:spcBef>
                <a:spcPts val="6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 Bold"/>
              <a:buChar char="+"/>
              <a:defRPr lang="en-US" sz="2000" kern="1200" dirty="0" smtClean="0">
                <a:solidFill>
                  <a:schemeClr val="tx1"/>
                </a:solidFill>
                <a:latin typeface="+mn-lt"/>
                <a:ea typeface="Arial" pitchFamily="-111" charset="0"/>
                <a:cs typeface="Arial" pitchFamily="34" charset="0"/>
              </a:defRPr>
            </a:lvl1pPr>
            <a:lvl2pPr marL="568325" indent="-222250" algn="l" rtl="0" eaLnBrk="1" fontAlgn="base" hangingPunct="1">
              <a:spcBef>
                <a:spcPts val="300"/>
              </a:spcBef>
              <a:spcAft>
                <a:spcPts val="200"/>
              </a:spcAft>
              <a:buClr>
                <a:schemeClr val="accent2"/>
              </a:buClr>
              <a:buFont typeface="Lucida Grande"/>
              <a:buChar char="•"/>
              <a:defRPr lang="en-US" sz="1800" kern="1200" dirty="0" smtClean="0">
                <a:solidFill>
                  <a:schemeClr val="tx1"/>
                </a:solidFill>
                <a:latin typeface="+mn-lt"/>
                <a:ea typeface="Arial" pitchFamily="-111" charset="0"/>
                <a:cs typeface="Arial" charset="0"/>
              </a:defRPr>
            </a:lvl2pPr>
            <a:lvl3pPr marL="857250" indent="-233363" algn="l" rtl="0" eaLnBrk="1" fontAlgn="base" hangingPunct="1"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Font typeface="Lucida Grande"/>
              <a:buChar char="−"/>
              <a:defRPr lang="en-US" sz="1600" kern="1200" dirty="0" smtClean="0">
                <a:solidFill>
                  <a:schemeClr val="tx1"/>
                </a:solidFill>
                <a:latin typeface="+mn-lt"/>
                <a:ea typeface="Arial" pitchFamily="-111" charset="0"/>
                <a:cs typeface="Arial" charset="0"/>
              </a:defRPr>
            </a:lvl3pPr>
            <a:lvl4pPr marL="1081088" indent="-223838" algn="l" rtl="0" eaLnBrk="1" fontAlgn="base" hangingPunct="1"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Courier New" charset="0"/>
              <a:buChar char="o"/>
              <a:defRPr lang="en-US" sz="1600" kern="1200" dirty="0" smtClean="0">
                <a:solidFill>
                  <a:schemeClr val="tx1"/>
                </a:solidFill>
                <a:latin typeface="+mn-lt"/>
                <a:ea typeface="Arial" pitchFamily="-111" charset="0"/>
                <a:cs typeface="Arial" charset="0"/>
              </a:defRPr>
            </a:lvl4pPr>
            <a:lvl5pPr marL="1258888" indent="-177800" algn="l" rtl="0" eaLnBrk="1" fontAlgn="base" hangingPunct="1"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Font typeface="Arial" charset="0"/>
              <a:buChar char="»"/>
              <a:defRPr lang="en-CA" sz="1600" kern="1200" dirty="0">
                <a:solidFill>
                  <a:schemeClr val="tx1"/>
                </a:solidFill>
                <a:latin typeface="+mn-lt"/>
                <a:ea typeface="Arial" pitchFamily="-111" charset="0"/>
                <a:cs typeface="Arial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Locate near power source to reduce installation costs </a:t>
            </a:r>
          </a:p>
          <a:p>
            <a:r>
              <a:rPr lang="en-US" sz="1800" dirty="0"/>
              <a:t>Plan for dual port stations </a:t>
            </a:r>
            <a:endParaRPr lang="en-US" sz="1800" dirty="0" smtClean="0"/>
          </a:p>
          <a:p>
            <a:r>
              <a:rPr lang="en-US" sz="1800" dirty="0" smtClean="0"/>
              <a:t>Cluster stations</a:t>
            </a:r>
            <a:endParaRPr lang="en-US" sz="1800" dirty="0"/>
          </a:p>
          <a:p>
            <a:r>
              <a:rPr lang="en-US" sz="1800" dirty="0"/>
              <a:t>Consider a wall-mount </a:t>
            </a:r>
            <a:r>
              <a:rPr lang="en-US" sz="1800" dirty="0" smtClean="0"/>
              <a:t>stations</a:t>
            </a:r>
            <a:endParaRPr lang="en-US" sz="1800" dirty="0"/>
          </a:p>
          <a:p>
            <a:r>
              <a:rPr lang="en-US" sz="1800" dirty="0"/>
              <a:t>Consider make-ready items for anticipated EV charger needs</a:t>
            </a:r>
          </a:p>
          <a:p>
            <a:pPr lvl="1"/>
            <a:r>
              <a:rPr lang="en-US" dirty="0"/>
              <a:t>Empty conduit sized for the future</a:t>
            </a:r>
          </a:p>
          <a:p>
            <a:pPr lvl="1"/>
            <a:r>
              <a:rPr lang="en-US" dirty="0"/>
              <a:t>Panel capacity</a:t>
            </a:r>
          </a:p>
          <a:p>
            <a:pPr lvl="1"/>
            <a:r>
              <a:rPr lang="en-US" dirty="0"/>
              <a:t>Upgrade electrical service </a:t>
            </a:r>
          </a:p>
          <a:p>
            <a:pPr lvl="1"/>
            <a:r>
              <a:rPr lang="en-US" dirty="0"/>
              <a:t>Trenching and laying the conduit</a:t>
            </a:r>
          </a:p>
        </p:txBody>
      </p:sp>
    </p:spTree>
    <p:extLst>
      <p:ext uri="{BB962C8B-B14F-4D97-AF65-F5344CB8AC3E}">
        <p14:creationId xmlns:p14="http://schemas.microsoft.com/office/powerpoint/2010/main" val="1513584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92631"/>
            <a:ext cx="8305800" cy="400110"/>
          </a:xfrm>
        </p:spPr>
        <p:txBody>
          <a:bodyPr/>
          <a:lstStyle/>
          <a:p>
            <a:r>
              <a:rPr lang="en-US" dirty="0"/>
              <a:t>Prot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7408" y="880706"/>
            <a:ext cx="7903191" cy="2657475"/>
          </a:xfrm>
        </p:spPr>
        <p:txBody>
          <a:bodyPr/>
          <a:lstStyle/>
          <a:p>
            <a:r>
              <a:rPr lang="en-US" sz="1600" dirty="0"/>
              <a:t>Install </a:t>
            </a:r>
            <a:r>
              <a:rPr lang="en-US" sz="1600" u="sng" dirty="0"/>
              <a:t>bollards</a:t>
            </a:r>
            <a:r>
              <a:rPr lang="en-US" sz="1600" dirty="0"/>
              <a:t> or </a:t>
            </a:r>
            <a:r>
              <a:rPr lang="en-US" sz="1600" u="sng" dirty="0"/>
              <a:t>wheel stops </a:t>
            </a:r>
            <a:r>
              <a:rPr lang="en-US" sz="1600" dirty="0"/>
              <a:t>to protect the charging stations from damage by cars. </a:t>
            </a:r>
          </a:p>
          <a:p>
            <a:r>
              <a:rPr lang="en-US" sz="1600" dirty="0"/>
              <a:t>Bollards should be installed in a way that does not interfere with station and cable operation. 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97" r="8571" b="20038"/>
          <a:stretch/>
        </p:blipFill>
        <p:spPr>
          <a:xfrm>
            <a:off x="3792141" y="1884809"/>
            <a:ext cx="5123260" cy="256305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572000" y="4510958"/>
            <a:ext cx="36794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el stops</a:t>
            </a:r>
            <a:endParaRPr lang="en-US" sz="1100" dirty="0">
              <a:solidFill>
                <a:srgbClr val="1C1C1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79404" y="4479398"/>
            <a:ext cx="24276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lards</a:t>
            </a:r>
            <a:endParaRPr lang="en-US" sz="825" dirty="0">
              <a:solidFill>
                <a:srgbClr val="1C1C1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Placeholder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90" r="38210" b="13580"/>
          <a:stretch/>
        </p:blipFill>
        <p:spPr>
          <a:xfrm>
            <a:off x="350293" y="1884809"/>
            <a:ext cx="3085869" cy="2559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004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863911" y="3867150"/>
            <a:ext cx="5418609" cy="869479"/>
          </a:xfrm>
          <a:prstGeom prst="rect">
            <a:avLst/>
          </a:prstGeom>
          <a:noFill/>
        </p:spPr>
        <p:txBody>
          <a:bodyPr wrap="none" lIns="68589" tIns="34295" rIns="68589" bIns="34295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accent1"/>
                </a:solidFill>
                <a:latin typeface="Arial"/>
                <a:cs typeface="Arial"/>
              </a:rPr>
              <a:t>We Are the Industry Leader</a:t>
            </a:r>
            <a:r>
              <a:rPr lang="en-US" sz="2000" dirty="0">
                <a:solidFill>
                  <a:schemeClr val="accent1"/>
                </a:solidFill>
                <a:latin typeface="Arial"/>
                <a:cs typeface="Arial"/>
              </a:rPr>
              <a:t/>
            </a:r>
            <a:br>
              <a:rPr lang="en-US" sz="2000" dirty="0">
                <a:solidFill>
                  <a:schemeClr val="accent1"/>
                </a:solidFill>
                <a:latin typeface="Arial"/>
                <a:cs typeface="Arial"/>
              </a:rPr>
            </a:br>
            <a:r>
              <a:rPr lang="en-US" sz="1600" dirty="0">
                <a:latin typeface="Arial"/>
                <a:cs typeface="Arial"/>
              </a:rPr>
              <a:t>According to Time, Bloomberg, CNBC, Navigant Research</a:t>
            </a:r>
            <a:br>
              <a:rPr lang="en-US" sz="1600" dirty="0">
                <a:latin typeface="Arial"/>
                <a:cs typeface="Arial"/>
              </a:rPr>
            </a:br>
            <a:r>
              <a:rPr lang="en-US" sz="1600" dirty="0">
                <a:latin typeface="Arial"/>
                <a:cs typeface="Arial"/>
              </a:rPr>
              <a:t>and many others 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33400" y="2581751"/>
            <a:ext cx="2438400" cy="1677392"/>
          </a:xfrm>
          <a:prstGeom prst="rect">
            <a:avLst/>
          </a:prstGeom>
          <a:noFill/>
        </p:spPr>
        <p:txBody>
          <a:bodyPr wrap="square" lIns="68589" tIns="34295" rIns="68589" bIns="34295" rtlCol="0">
            <a:spAutoFit/>
          </a:bodyPr>
          <a:lstStyle/>
          <a:p>
            <a:pPr marL="117475" indent="-117475">
              <a:spcAft>
                <a:spcPts val="450"/>
              </a:spcAft>
            </a:pPr>
            <a:r>
              <a:rPr lang="en-US" sz="1600" b="1" dirty="0">
                <a:solidFill>
                  <a:srgbClr val="323232"/>
                </a:solidFill>
                <a:latin typeface="Arial"/>
                <a:cs typeface="Arial"/>
              </a:rPr>
              <a:t>Largest Community of EV drivers</a:t>
            </a:r>
          </a:p>
          <a:p>
            <a:pPr marL="117475" indent="-117475">
              <a:spcAft>
                <a:spcPts val="450"/>
              </a:spcAft>
            </a:pPr>
            <a:r>
              <a:rPr lang="en-US" sz="1200" dirty="0">
                <a:solidFill>
                  <a:schemeClr val="accent2"/>
                </a:solidFill>
                <a:latin typeface="Arial"/>
                <a:cs typeface="Arial"/>
              </a:rPr>
              <a:t>+</a:t>
            </a:r>
            <a:r>
              <a:rPr lang="en-US" sz="1200" dirty="0">
                <a:solidFill>
                  <a:srgbClr val="323232"/>
                </a:solidFill>
                <a:latin typeface="Arial"/>
                <a:cs typeface="Arial"/>
              </a:rPr>
              <a:t> 70% of new EV drivers join every month</a:t>
            </a:r>
          </a:p>
          <a:p>
            <a:pPr marL="117475" indent="-117475">
              <a:spcAft>
                <a:spcPts val="450"/>
              </a:spcAft>
            </a:pPr>
            <a:r>
              <a:rPr lang="en-US" sz="1200" dirty="0">
                <a:solidFill>
                  <a:schemeClr val="accent2"/>
                </a:solidFill>
                <a:latin typeface="Arial"/>
                <a:cs typeface="Arial"/>
              </a:rPr>
              <a:t>+</a:t>
            </a:r>
            <a:r>
              <a:rPr lang="en-US" sz="1200" dirty="0">
                <a:solidFill>
                  <a:srgbClr val="323232"/>
                </a:solidFill>
                <a:latin typeface="Arial"/>
                <a:cs typeface="Arial"/>
              </a:rPr>
              <a:t> A driver plugs into our network every 4 seconds</a:t>
            </a:r>
          </a:p>
          <a:p>
            <a:pPr marL="117475" indent="-117475">
              <a:spcAft>
                <a:spcPts val="450"/>
              </a:spcAft>
            </a:pPr>
            <a:endParaRPr lang="en-US" sz="1200" dirty="0">
              <a:solidFill>
                <a:srgbClr val="323232"/>
              </a:solidFill>
              <a:latin typeface="Arial"/>
              <a:cs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383331" y="2581751"/>
            <a:ext cx="2357074" cy="813053"/>
          </a:xfrm>
          <a:prstGeom prst="rect">
            <a:avLst/>
          </a:prstGeom>
          <a:noFill/>
        </p:spPr>
        <p:txBody>
          <a:bodyPr wrap="none" lIns="68589" tIns="34295" rIns="68589" bIns="34295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US" sz="1600" b="1" dirty="0">
                <a:solidFill>
                  <a:srgbClr val="323232"/>
                </a:solidFill>
                <a:latin typeface="Arial"/>
                <a:cs typeface="Arial"/>
              </a:rPr>
              <a:t>Charging Everywhere</a:t>
            </a:r>
          </a:p>
          <a:p>
            <a:pPr>
              <a:spcAft>
                <a:spcPts val="450"/>
              </a:spcAft>
            </a:pPr>
            <a:r>
              <a:rPr lang="en-US" sz="1200" dirty="0">
                <a:solidFill>
                  <a:schemeClr val="accent2"/>
                </a:solidFill>
                <a:latin typeface="Arial"/>
                <a:cs typeface="Arial"/>
              </a:rPr>
              <a:t>+</a:t>
            </a:r>
            <a:r>
              <a:rPr lang="en-US" sz="1200" dirty="0">
                <a:solidFill>
                  <a:srgbClr val="323232"/>
                </a:solidFill>
                <a:latin typeface="Arial"/>
                <a:cs typeface="Arial"/>
              </a:rPr>
              <a:t> </a:t>
            </a:r>
            <a:r>
              <a:rPr lang="en-US" sz="1200" dirty="0" smtClean="0">
                <a:solidFill>
                  <a:srgbClr val="323232"/>
                </a:solidFill>
                <a:latin typeface="Arial"/>
                <a:cs typeface="Arial"/>
              </a:rPr>
              <a:t>42,000</a:t>
            </a:r>
            <a:r>
              <a:rPr lang="en-US" sz="1200" dirty="0">
                <a:solidFill>
                  <a:srgbClr val="323232"/>
                </a:solidFill>
                <a:latin typeface="Arial"/>
                <a:cs typeface="Arial"/>
              </a:rPr>
              <a:t>+ charging spots</a:t>
            </a:r>
          </a:p>
          <a:p>
            <a:pPr>
              <a:spcAft>
                <a:spcPts val="450"/>
              </a:spcAft>
            </a:pPr>
            <a:r>
              <a:rPr lang="en-US" sz="1200" dirty="0">
                <a:solidFill>
                  <a:schemeClr val="accent2"/>
                </a:solidFill>
                <a:latin typeface="Arial"/>
                <a:cs typeface="Arial"/>
              </a:rPr>
              <a:t>+ </a:t>
            </a:r>
            <a:r>
              <a:rPr lang="en-US" sz="1200" dirty="0">
                <a:solidFill>
                  <a:srgbClr val="323232"/>
                </a:solidFill>
                <a:latin typeface="Arial"/>
                <a:cs typeface="Arial"/>
              </a:rPr>
              <a:t>600+ ports added every month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324601" y="2581752"/>
            <a:ext cx="2362199" cy="1308060"/>
          </a:xfrm>
          <a:prstGeom prst="rect">
            <a:avLst/>
          </a:prstGeom>
          <a:noFill/>
        </p:spPr>
        <p:txBody>
          <a:bodyPr wrap="square" lIns="68589" tIns="34295" rIns="68589" bIns="34295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US" sz="1600" b="1" dirty="0">
                <a:solidFill>
                  <a:srgbClr val="323232"/>
                </a:solidFill>
                <a:latin typeface="Arial"/>
                <a:cs typeface="Arial"/>
              </a:rPr>
              <a:t>We’re Established and Growing</a:t>
            </a:r>
          </a:p>
          <a:p>
            <a:pPr>
              <a:spcAft>
                <a:spcPts val="450"/>
              </a:spcAft>
            </a:pPr>
            <a:r>
              <a:rPr lang="en-US" sz="1200" dirty="0">
                <a:solidFill>
                  <a:schemeClr val="accent2"/>
                </a:solidFill>
                <a:latin typeface="Arial"/>
                <a:cs typeface="Arial"/>
              </a:rPr>
              <a:t>+</a:t>
            </a:r>
            <a:r>
              <a:rPr lang="en-US" sz="1200" dirty="0">
                <a:solidFill>
                  <a:srgbClr val="323232"/>
                </a:solidFill>
                <a:latin typeface="Arial"/>
                <a:cs typeface="Arial"/>
              </a:rPr>
              <a:t> $165 million in funding </a:t>
            </a:r>
          </a:p>
          <a:p>
            <a:pPr>
              <a:spcAft>
                <a:spcPts val="450"/>
              </a:spcAft>
            </a:pPr>
            <a:r>
              <a:rPr lang="en-US" sz="1200" dirty="0">
                <a:solidFill>
                  <a:schemeClr val="accent2"/>
                </a:solidFill>
                <a:latin typeface="Arial"/>
                <a:cs typeface="Arial"/>
              </a:rPr>
              <a:t>+</a:t>
            </a:r>
            <a:r>
              <a:rPr lang="en-US" sz="1200" dirty="0">
                <a:solidFill>
                  <a:srgbClr val="323232"/>
                </a:solidFill>
                <a:latin typeface="Arial"/>
                <a:cs typeface="Arial"/>
              </a:rPr>
              <a:t> Market share </a:t>
            </a:r>
            <a:r>
              <a:rPr lang="en-US" sz="1200" dirty="0" smtClean="0">
                <a:solidFill>
                  <a:srgbClr val="323232"/>
                </a:solidFill>
                <a:latin typeface="Arial"/>
                <a:cs typeface="Arial"/>
              </a:rPr>
              <a:t>leader</a:t>
            </a:r>
          </a:p>
          <a:p>
            <a:pPr>
              <a:spcAft>
                <a:spcPts val="450"/>
              </a:spcAft>
            </a:pPr>
            <a:r>
              <a:rPr lang="en-US" sz="1200" dirty="0">
                <a:solidFill>
                  <a:schemeClr val="accent2"/>
                </a:solidFill>
                <a:latin typeface="Arial"/>
                <a:cs typeface="Arial"/>
              </a:rPr>
              <a:t>+</a:t>
            </a:r>
            <a:r>
              <a:rPr lang="en-US" sz="1200" dirty="0">
                <a:solidFill>
                  <a:srgbClr val="323232"/>
                </a:solidFill>
                <a:latin typeface="Arial"/>
                <a:cs typeface="Arial"/>
              </a:rPr>
              <a:t> </a:t>
            </a:r>
            <a:r>
              <a:rPr lang="en-US" sz="1200" dirty="0" smtClean="0">
                <a:solidFill>
                  <a:srgbClr val="323232"/>
                </a:solidFill>
                <a:latin typeface="Arial"/>
                <a:cs typeface="Arial"/>
              </a:rPr>
              <a:t>European Expansion</a:t>
            </a:r>
            <a:endParaRPr lang="en-US" sz="1200" dirty="0">
              <a:solidFill>
                <a:srgbClr val="323232"/>
              </a:solidFill>
              <a:latin typeface="Arial"/>
              <a:cs typeface="Arial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orld’s Largest and Most Open</a:t>
            </a:r>
            <a:br>
              <a:rPr lang="en-US" dirty="0"/>
            </a:br>
            <a:r>
              <a:rPr lang="en-US" dirty="0"/>
              <a:t>EV Charging Network</a:t>
            </a:r>
          </a:p>
        </p:txBody>
      </p:sp>
      <p:sp>
        <p:nvSpPr>
          <p:cNvPr id="21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CCA5C-75CA-43B8-B936-D2315E2FCCF6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2" name="Picture 1" descr="ChargePoint_car_2015_trio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0" y="1782598"/>
            <a:ext cx="1816608" cy="746480"/>
          </a:xfrm>
          <a:prstGeom prst="rect">
            <a:avLst/>
          </a:prstGeom>
        </p:spPr>
      </p:pic>
      <p:pic>
        <p:nvPicPr>
          <p:cNvPr id="16" name="Picture 15" descr="Pin_green0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8200" y="1720424"/>
            <a:ext cx="304800" cy="35980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731936" y="1986974"/>
            <a:ext cx="167706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42,000</a:t>
            </a:r>
            <a:r>
              <a:rPr lang="en-US" sz="3200" b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pic>
        <p:nvPicPr>
          <p:cNvPr id="19" name="Picture 18" descr="Pin_green0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4800" y="1720424"/>
            <a:ext cx="304800" cy="359802"/>
          </a:xfrm>
          <a:prstGeom prst="rect">
            <a:avLst/>
          </a:prstGeom>
        </p:spPr>
      </p:pic>
      <p:pic>
        <p:nvPicPr>
          <p:cNvPr id="20" name="Picture 19" descr="Pin_green0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3400" y="1623026"/>
            <a:ext cx="387309" cy="457200"/>
          </a:xfrm>
          <a:prstGeom prst="rect">
            <a:avLst/>
          </a:prstGeom>
        </p:spPr>
      </p:pic>
      <p:pic>
        <p:nvPicPr>
          <p:cNvPr id="6" name="Picture 5" descr="growing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4599" y="971550"/>
            <a:ext cx="2008513" cy="1478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350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76935"/>
            <a:ext cx="8229600" cy="400110"/>
          </a:xfrm>
        </p:spPr>
        <p:txBody>
          <a:bodyPr/>
          <a:lstStyle/>
          <a:p>
            <a:r>
              <a:rPr lang="en-US" dirty="0" smtClean="0"/>
              <a:t>42,000+ ChargePoint Stations	</a:t>
            </a:r>
            <a:endParaRPr lang="en-US" sz="1600" b="0" dirty="0">
              <a:solidFill>
                <a:srgbClr val="FF7A14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0D55CB3-A229-4D37-98DE-0BA6D5C5D1A9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57200" y="4457700"/>
            <a:ext cx="8229600" cy="228600"/>
          </a:xfrm>
        </p:spPr>
        <p:txBody>
          <a:bodyPr>
            <a:normAutofit fontScale="92500" lnSpcReduction="20000"/>
          </a:bodyPr>
          <a:lstStyle/>
          <a:p>
            <a:r>
              <a:rPr lang="en-US" b="1" i="0" dirty="0" smtClean="0"/>
              <a:t>Nov= 1,272 kWh	Dec= 1,098 kWh	Jan= 1,405 kWh</a:t>
            </a:r>
            <a:endParaRPr lang="en-US" i="0" dirty="0"/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57500" t="35185" r="5417" b="27038"/>
          <a:stretch/>
        </p:blipFill>
        <p:spPr>
          <a:xfrm>
            <a:off x="1752600" y="895350"/>
            <a:ext cx="6781800" cy="38862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37083" t="70000" r="55000" b="17407"/>
          <a:stretch/>
        </p:blipFill>
        <p:spPr>
          <a:xfrm>
            <a:off x="431800" y="3504455"/>
            <a:ext cx="1447800" cy="129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791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0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1504950"/>
            <a:ext cx="1544638" cy="260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1" name="Title 1"/>
          <p:cNvSpPr>
            <a:spLocks noGrp="1"/>
          </p:cNvSpPr>
          <p:nvPr>
            <p:ph type="title"/>
          </p:nvPr>
        </p:nvSpPr>
        <p:spPr>
          <a:xfrm>
            <a:off x="457200" y="552450"/>
            <a:ext cx="8229600" cy="411163"/>
          </a:xfrm>
        </p:spPr>
        <p:txBody>
          <a:bodyPr/>
          <a:lstStyle/>
          <a:p>
            <a:pPr eaLnBrk="1" hangingPunct="1"/>
            <a:r>
              <a:rPr lang="en-US" altLang="en-US" smtClean="0">
                <a:ea typeface="ＭＳ Ｐゴシック" panose="020B0600070205080204" pitchFamily="34" charset="-128"/>
              </a:rPr>
              <a:t>Stations for Every Situation</a:t>
            </a:r>
          </a:p>
        </p:txBody>
      </p:sp>
      <p:sp>
        <p:nvSpPr>
          <p:cNvPr id="27652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7696200" y="4783138"/>
            <a:ext cx="1066800" cy="2270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D9F78EF2-C95D-456E-B0A8-AB1BACDAB9CC}" type="slidenum">
              <a:rPr lang="en-US" altLang="en-US" smtClean="0">
                <a:solidFill>
                  <a:srgbClr val="323232"/>
                </a:solidFill>
              </a:rPr>
              <a:pPr/>
              <a:t>19</a:t>
            </a:fld>
            <a:endParaRPr lang="en-US" altLang="en-US" smtClean="0">
              <a:solidFill>
                <a:srgbClr val="323232"/>
              </a:solidFill>
            </a:endParaRPr>
          </a:p>
        </p:txBody>
      </p:sp>
      <p:sp>
        <p:nvSpPr>
          <p:cNvPr id="27653" name="TextBox 12"/>
          <p:cNvSpPr txBox="1">
            <a:spLocks noChangeArrowheads="1"/>
          </p:cNvSpPr>
          <p:nvPr/>
        </p:nvSpPr>
        <p:spPr bwMode="auto">
          <a:xfrm>
            <a:off x="1917700" y="3914775"/>
            <a:ext cx="7493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1200" b="1"/>
              <a:t>CPF25</a:t>
            </a:r>
          </a:p>
          <a:p>
            <a:pPr algn="ctr"/>
            <a:r>
              <a:rPr lang="en-US" altLang="en-US" sz="1200"/>
              <a:t>Level 2</a:t>
            </a:r>
            <a:r>
              <a:rPr lang="en-US" altLang="en-US" sz="1200" b="1"/>
              <a:t> </a:t>
            </a:r>
          </a:p>
        </p:txBody>
      </p:sp>
      <p:sp>
        <p:nvSpPr>
          <p:cNvPr id="27654" name="TextBox 15"/>
          <p:cNvSpPr txBox="1">
            <a:spLocks noChangeArrowheads="1"/>
          </p:cNvSpPr>
          <p:nvPr/>
        </p:nvSpPr>
        <p:spPr bwMode="auto">
          <a:xfrm>
            <a:off x="3663950" y="3914775"/>
            <a:ext cx="7493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1200" b="1"/>
              <a:t>CT4000</a:t>
            </a:r>
          </a:p>
          <a:p>
            <a:pPr algn="ctr"/>
            <a:r>
              <a:rPr lang="en-US" altLang="en-US" sz="1200"/>
              <a:t>Level 2 </a:t>
            </a:r>
          </a:p>
        </p:txBody>
      </p:sp>
      <p:sp>
        <p:nvSpPr>
          <p:cNvPr id="27655" name="TextBox 16"/>
          <p:cNvSpPr txBox="1">
            <a:spLocks noChangeArrowheads="1"/>
          </p:cNvSpPr>
          <p:nvPr/>
        </p:nvSpPr>
        <p:spPr bwMode="auto">
          <a:xfrm>
            <a:off x="5299075" y="4352925"/>
            <a:ext cx="14224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1200" i="1"/>
              <a:t>Fast DC Chargers</a:t>
            </a:r>
          </a:p>
        </p:txBody>
      </p:sp>
      <p:sp>
        <p:nvSpPr>
          <p:cNvPr id="27656" name="TextBox 18"/>
          <p:cNvSpPr txBox="1">
            <a:spLocks noChangeArrowheads="1"/>
          </p:cNvSpPr>
          <p:nvPr/>
        </p:nvSpPr>
        <p:spPr bwMode="auto">
          <a:xfrm>
            <a:off x="509588" y="3914775"/>
            <a:ext cx="677862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1200" b="1"/>
              <a:t>Home</a:t>
            </a:r>
          </a:p>
          <a:p>
            <a:pPr algn="ctr"/>
            <a:r>
              <a:rPr lang="en-US" altLang="en-US" sz="1200"/>
              <a:t>Level 2</a:t>
            </a:r>
          </a:p>
        </p:txBody>
      </p:sp>
      <p:pic>
        <p:nvPicPr>
          <p:cNvPr id="27657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71" r="23904" b="9935"/>
          <a:stretch>
            <a:fillRect/>
          </a:stretch>
        </p:blipFill>
        <p:spPr bwMode="auto">
          <a:xfrm>
            <a:off x="5221288" y="2354263"/>
            <a:ext cx="714375" cy="155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8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4088" y="1878013"/>
            <a:ext cx="977900" cy="208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9" name="Picture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24" t="2592" r="37038" b="2623"/>
          <a:stretch>
            <a:fillRect/>
          </a:stretch>
        </p:blipFill>
        <p:spPr bwMode="auto">
          <a:xfrm>
            <a:off x="4173538" y="2168525"/>
            <a:ext cx="366712" cy="173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60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89" t="742" r="30608" b="2991"/>
          <a:stretch>
            <a:fillRect/>
          </a:stretch>
        </p:blipFill>
        <p:spPr bwMode="auto">
          <a:xfrm>
            <a:off x="3429000" y="1641475"/>
            <a:ext cx="598488" cy="2259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61" name="Picture 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33" t="2592" r="33333" b="2623"/>
          <a:stretch>
            <a:fillRect/>
          </a:stretch>
        </p:blipFill>
        <p:spPr bwMode="auto">
          <a:xfrm>
            <a:off x="2336800" y="2195513"/>
            <a:ext cx="474663" cy="169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62" name="Picture 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73" t="2592" r="39906" b="2623"/>
          <a:stretch>
            <a:fillRect/>
          </a:stretch>
        </p:blipFill>
        <p:spPr bwMode="auto">
          <a:xfrm>
            <a:off x="1855788" y="2195513"/>
            <a:ext cx="328612" cy="169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63" name="Rectangle 9"/>
          <p:cNvSpPr>
            <a:spLocks noChangeArrowheads="1"/>
          </p:cNvSpPr>
          <p:nvPr/>
        </p:nvSpPr>
        <p:spPr bwMode="auto">
          <a:xfrm>
            <a:off x="1651000" y="1073150"/>
            <a:ext cx="12636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1400" b="1">
                <a:solidFill>
                  <a:schemeClr val="accent2"/>
                </a:solidFill>
              </a:rPr>
              <a:t>Multi-Family,</a:t>
            </a:r>
          </a:p>
          <a:p>
            <a:pPr algn="ctr"/>
            <a:r>
              <a:rPr lang="en-US" altLang="en-US" sz="1400" b="1">
                <a:solidFill>
                  <a:schemeClr val="accent2"/>
                </a:solidFill>
              </a:rPr>
              <a:t>Fleet</a:t>
            </a:r>
          </a:p>
        </p:txBody>
      </p:sp>
      <p:sp>
        <p:nvSpPr>
          <p:cNvPr id="27664" name="Rectangle 19"/>
          <p:cNvSpPr>
            <a:spLocks noChangeArrowheads="1"/>
          </p:cNvSpPr>
          <p:nvPr/>
        </p:nvSpPr>
        <p:spPr bwMode="auto">
          <a:xfrm>
            <a:off x="6092825" y="1077913"/>
            <a:ext cx="12128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1400" b="1">
                <a:solidFill>
                  <a:schemeClr val="accent2"/>
                </a:solidFill>
              </a:rPr>
              <a:t>On-Route,</a:t>
            </a:r>
            <a:br>
              <a:rPr lang="en-US" altLang="en-US" sz="1400" b="1">
                <a:solidFill>
                  <a:schemeClr val="accent2"/>
                </a:solidFill>
              </a:rPr>
            </a:br>
            <a:r>
              <a:rPr lang="en-US" altLang="en-US" sz="1400" b="1">
                <a:solidFill>
                  <a:schemeClr val="accent2"/>
                </a:solidFill>
              </a:rPr>
              <a:t>Commercial</a:t>
            </a:r>
          </a:p>
        </p:txBody>
      </p:sp>
      <p:sp>
        <p:nvSpPr>
          <p:cNvPr id="27665" name="Rectangle 22"/>
          <p:cNvSpPr>
            <a:spLocks noChangeArrowheads="1"/>
          </p:cNvSpPr>
          <p:nvPr/>
        </p:nvSpPr>
        <p:spPr bwMode="auto">
          <a:xfrm>
            <a:off x="185738" y="1073150"/>
            <a:ext cx="133826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1400" b="1">
                <a:solidFill>
                  <a:schemeClr val="accent2"/>
                </a:solidFill>
              </a:rPr>
              <a:t>Single Family</a:t>
            </a:r>
          </a:p>
          <a:p>
            <a:pPr algn="ctr"/>
            <a:r>
              <a:rPr lang="en-US" altLang="en-US" sz="1400" b="1">
                <a:solidFill>
                  <a:schemeClr val="accent2"/>
                </a:solidFill>
              </a:rPr>
              <a:t>Home</a:t>
            </a:r>
          </a:p>
        </p:txBody>
      </p:sp>
      <p:pic>
        <p:nvPicPr>
          <p:cNvPr id="27666" name="Picture 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038" t="8517" r="37038" b="7037"/>
          <a:stretch>
            <a:fillRect/>
          </a:stretch>
        </p:blipFill>
        <p:spPr bwMode="auto">
          <a:xfrm>
            <a:off x="682625" y="2670175"/>
            <a:ext cx="292100" cy="1189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67" name="TextBox 15"/>
          <p:cNvSpPr txBox="1">
            <a:spLocks noChangeArrowheads="1"/>
          </p:cNvSpPr>
          <p:nvPr/>
        </p:nvSpPr>
        <p:spPr bwMode="auto">
          <a:xfrm>
            <a:off x="5181600" y="3914775"/>
            <a:ext cx="75565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1200" b="1"/>
              <a:t>CPE100</a:t>
            </a:r>
          </a:p>
          <a:p>
            <a:pPr algn="ctr"/>
            <a:r>
              <a:rPr lang="en-US" altLang="en-US" sz="1200"/>
              <a:t>24kW </a:t>
            </a:r>
          </a:p>
        </p:txBody>
      </p:sp>
      <p:sp>
        <p:nvSpPr>
          <p:cNvPr id="27668" name="TextBox 15"/>
          <p:cNvSpPr txBox="1">
            <a:spLocks noChangeArrowheads="1"/>
          </p:cNvSpPr>
          <p:nvPr/>
        </p:nvSpPr>
        <p:spPr bwMode="auto">
          <a:xfrm>
            <a:off x="6142038" y="3914775"/>
            <a:ext cx="75565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1200" b="1"/>
              <a:t>CPE200</a:t>
            </a:r>
          </a:p>
          <a:p>
            <a:pPr algn="ctr"/>
            <a:r>
              <a:rPr lang="en-US" altLang="en-US" sz="1200"/>
              <a:t>50kW</a:t>
            </a:r>
            <a:r>
              <a:rPr lang="en-US" altLang="en-US" sz="1200" b="1"/>
              <a:t> </a:t>
            </a:r>
          </a:p>
        </p:txBody>
      </p:sp>
      <p:sp>
        <p:nvSpPr>
          <p:cNvPr id="27669" name="Rectangle 13"/>
          <p:cNvSpPr>
            <a:spLocks noChangeArrowheads="1"/>
          </p:cNvSpPr>
          <p:nvPr/>
        </p:nvSpPr>
        <p:spPr bwMode="auto">
          <a:xfrm>
            <a:off x="3048000" y="1073150"/>
            <a:ext cx="213518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1400" b="1">
                <a:solidFill>
                  <a:schemeClr val="accent2"/>
                </a:solidFill>
              </a:rPr>
              <a:t>Commercial/Municipal,</a:t>
            </a:r>
            <a:br>
              <a:rPr lang="en-US" altLang="en-US" sz="1400" b="1">
                <a:solidFill>
                  <a:schemeClr val="accent2"/>
                </a:solidFill>
              </a:rPr>
            </a:br>
            <a:r>
              <a:rPr lang="en-US" altLang="ja-JP" sz="1400" b="1">
                <a:solidFill>
                  <a:schemeClr val="accent2"/>
                </a:solidFill>
              </a:rPr>
              <a:t>Mixed Use</a:t>
            </a:r>
            <a:endParaRPr lang="en-US" altLang="en-US" sz="1400" b="1">
              <a:solidFill>
                <a:schemeClr val="accent2"/>
              </a:solidFill>
            </a:endParaRPr>
          </a:p>
        </p:txBody>
      </p:sp>
      <p:sp>
        <p:nvSpPr>
          <p:cNvPr id="27670" name="TextBox 15"/>
          <p:cNvSpPr txBox="1">
            <a:spLocks noChangeArrowheads="1"/>
          </p:cNvSpPr>
          <p:nvPr/>
        </p:nvSpPr>
        <p:spPr bwMode="auto">
          <a:xfrm>
            <a:off x="7708900" y="3914775"/>
            <a:ext cx="114935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1200" b="1"/>
              <a:t>Express Plus</a:t>
            </a:r>
          </a:p>
          <a:p>
            <a:pPr algn="ctr"/>
            <a:r>
              <a:rPr lang="en-US" altLang="en-US" sz="1200"/>
              <a:t>400kW </a:t>
            </a:r>
          </a:p>
        </p:txBody>
      </p:sp>
      <p:sp>
        <p:nvSpPr>
          <p:cNvPr id="27671" name="TextBox 16"/>
          <p:cNvSpPr txBox="1">
            <a:spLocks noChangeArrowheads="1"/>
          </p:cNvSpPr>
          <p:nvPr/>
        </p:nvSpPr>
        <p:spPr bwMode="auto">
          <a:xfrm>
            <a:off x="7045325" y="4352925"/>
            <a:ext cx="17446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1200" i="1"/>
              <a:t>Ultra-fast DC Chargers</a:t>
            </a:r>
          </a:p>
        </p:txBody>
      </p:sp>
      <p:sp>
        <p:nvSpPr>
          <p:cNvPr id="27672" name="TextBox 15"/>
          <p:cNvSpPr txBox="1">
            <a:spLocks noChangeArrowheads="1"/>
          </p:cNvSpPr>
          <p:nvPr/>
        </p:nvSpPr>
        <p:spPr bwMode="auto">
          <a:xfrm>
            <a:off x="7035800" y="3914775"/>
            <a:ext cx="754063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1200" b="1"/>
              <a:t>CPE250</a:t>
            </a:r>
          </a:p>
          <a:p>
            <a:pPr algn="ctr"/>
            <a:r>
              <a:rPr lang="en-US" altLang="en-US" sz="1200"/>
              <a:t>62.5k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14705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5363"/>
            <a:ext cx="8229600" cy="400110"/>
          </a:xfrm>
        </p:spPr>
        <p:txBody>
          <a:bodyPr/>
          <a:lstStyle/>
          <a:p>
            <a:r>
              <a:rPr lang="en-US" dirty="0" smtClean="0"/>
              <a:t>Top Ten EV/PHEV Stat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B65967-37EE-4D55-82F8-A6494FD55C33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707207" y="4857751"/>
            <a:ext cx="1836593" cy="219291"/>
          </a:xfrm>
          <a:prstGeom prst="rect">
            <a:avLst/>
          </a:prstGeom>
          <a:solidFill>
            <a:srgbClr val="FFC000"/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US" sz="825" b="1" dirty="0"/>
              <a:t>Source: Polk (no GEM NEVs</a:t>
            </a:r>
            <a:r>
              <a:rPr lang="en-US" sz="825" dirty="0"/>
              <a:t>)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71337" y="674374"/>
          <a:ext cx="4805463" cy="3651973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8805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85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56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Rank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State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 smtClean="0">
                          <a:effectLst/>
                        </a:rPr>
                        <a:t>Q2'17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56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liforni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2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7,859 </a:t>
                      </a:r>
                      <a:endParaRPr lang="en-US" sz="2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5635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2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2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ashington</a:t>
                      </a:r>
                      <a:endParaRPr lang="en-US" sz="2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2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,136</a:t>
                      </a:r>
                      <a:endParaRPr lang="en-US" sz="2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5635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3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2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orida</a:t>
                      </a:r>
                      <a:endParaRPr lang="en-US" sz="2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2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,345</a:t>
                      </a:r>
                      <a:endParaRPr lang="en-US" sz="2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5635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2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xas</a:t>
                      </a:r>
                      <a:endParaRPr lang="en-US" sz="2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2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,208</a:t>
                      </a:r>
                      <a:endParaRPr lang="en-US" sz="2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5635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5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2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York</a:t>
                      </a:r>
                      <a:endParaRPr lang="en-US" sz="2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2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,873</a:t>
                      </a:r>
                      <a:endParaRPr lang="en-US" sz="2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5635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6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2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orgia</a:t>
                      </a:r>
                      <a:endParaRPr lang="en-US" sz="2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2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,618</a:t>
                      </a:r>
                      <a:endParaRPr lang="en-US" sz="2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5635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7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chigan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2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,723</a:t>
                      </a:r>
                      <a:endParaRPr lang="en-US" sz="2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5635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egon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2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,013</a:t>
                      </a:r>
                      <a:endParaRPr lang="en-US" sz="2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35635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9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llinois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2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,551</a:t>
                      </a:r>
                      <a:endParaRPr lang="en-US" sz="2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35635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0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Jersey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2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,906</a:t>
                      </a:r>
                      <a:endParaRPr lang="en-US" sz="2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5077251" y="1428750"/>
            <a:ext cx="4057650" cy="2371109"/>
            <a:chOff x="1428750" y="810241"/>
            <a:chExt cx="6255245" cy="3951684"/>
          </a:xfrm>
        </p:grpSpPr>
        <p:sp>
          <p:nvSpPr>
            <p:cNvPr id="9" name="Freeform 191"/>
            <p:cNvSpPr>
              <a:spLocks/>
            </p:cNvSpPr>
            <p:nvPr/>
          </p:nvSpPr>
          <p:spPr bwMode="auto">
            <a:xfrm>
              <a:off x="7013974" y="3061714"/>
              <a:ext cx="40481" cy="40481"/>
            </a:xfrm>
            <a:custGeom>
              <a:avLst/>
              <a:gdLst>
                <a:gd name="T0" fmla="*/ 0 w 34"/>
                <a:gd name="T1" fmla="*/ 30 h 34"/>
                <a:gd name="T2" fmla="*/ 4 w 34"/>
                <a:gd name="T3" fmla="*/ 34 h 34"/>
                <a:gd name="T4" fmla="*/ 34 w 34"/>
                <a:gd name="T5" fmla="*/ 4 h 34"/>
                <a:gd name="T6" fmla="*/ 30 w 34"/>
                <a:gd name="T7" fmla="*/ 0 h 34"/>
                <a:gd name="T8" fmla="*/ 0 w 34"/>
                <a:gd name="T9" fmla="*/ 3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0" y="30"/>
                  </a:moveTo>
                  <a:lnTo>
                    <a:pt x="4" y="34"/>
                  </a:lnTo>
                  <a:lnTo>
                    <a:pt x="34" y="4"/>
                  </a:lnTo>
                  <a:lnTo>
                    <a:pt x="30" y="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" name="Freeform 192"/>
            <p:cNvSpPr>
              <a:spLocks/>
            </p:cNvSpPr>
            <p:nvPr/>
          </p:nvSpPr>
          <p:spPr bwMode="auto">
            <a:xfrm>
              <a:off x="7037786" y="2925982"/>
              <a:ext cx="45244" cy="128588"/>
            </a:xfrm>
            <a:custGeom>
              <a:avLst/>
              <a:gdLst>
                <a:gd name="T0" fmla="*/ 18 w 38"/>
                <a:gd name="T1" fmla="*/ 108 h 108"/>
                <a:gd name="T2" fmla="*/ 22 w 38"/>
                <a:gd name="T3" fmla="*/ 108 h 108"/>
                <a:gd name="T4" fmla="*/ 38 w 38"/>
                <a:gd name="T5" fmla="*/ 100 h 108"/>
                <a:gd name="T6" fmla="*/ 36 w 38"/>
                <a:gd name="T7" fmla="*/ 50 h 108"/>
                <a:gd name="T8" fmla="*/ 2 w 38"/>
                <a:gd name="T9" fmla="*/ 0 h 108"/>
                <a:gd name="T10" fmla="*/ 0 w 38"/>
                <a:gd name="T11" fmla="*/ 4 h 108"/>
                <a:gd name="T12" fmla="*/ 32 w 38"/>
                <a:gd name="T13" fmla="*/ 50 h 108"/>
                <a:gd name="T14" fmla="*/ 34 w 38"/>
                <a:gd name="T15" fmla="*/ 94 h 108"/>
                <a:gd name="T16" fmla="*/ 18 w 38"/>
                <a:gd name="T17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108">
                  <a:moveTo>
                    <a:pt x="18" y="108"/>
                  </a:moveTo>
                  <a:lnTo>
                    <a:pt x="22" y="108"/>
                  </a:lnTo>
                  <a:lnTo>
                    <a:pt x="38" y="100"/>
                  </a:lnTo>
                  <a:lnTo>
                    <a:pt x="36" y="50"/>
                  </a:lnTo>
                  <a:lnTo>
                    <a:pt x="2" y="0"/>
                  </a:lnTo>
                  <a:lnTo>
                    <a:pt x="0" y="4"/>
                  </a:lnTo>
                  <a:lnTo>
                    <a:pt x="32" y="50"/>
                  </a:lnTo>
                  <a:lnTo>
                    <a:pt x="34" y="94"/>
                  </a:lnTo>
                  <a:lnTo>
                    <a:pt x="18" y="108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" name="Freeform 193"/>
            <p:cNvSpPr>
              <a:spLocks/>
            </p:cNvSpPr>
            <p:nvPr/>
          </p:nvSpPr>
          <p:spPr bwMode="auto">
            <a:xfrm>
              <a:off x="7406879" y="1991341"/>
              <a:ext cx="42863" cy="30956"/>
            </a:xfrm>
            <a:custGeom>
              <a:avLst/>
              <a:gdLst>
                <a:gd name="T0" fmla="*/ 0 w 36"/>
                <a:gd name="T1" fmla="*/ 20 h 26"/>
                <a:gd name="T2" fmla="*/ 10 w 36"/>
                <a:gd name="T3" fmla="*/ 26 h 26"/>
                <a:gd name="T4" fmla="*/ 16 w 36"/>
                <a:gd name="T5" fmla="*/ 18 h 26"/>
                <a:gd name="T6" fmla="*/ 32 w 36"/>
                <a:gd name="T7" fmla="*/ 12 h 26"/>
                <a:gd name="T8" fmla="*/ 36 w 36"/>
                <a:gd name="T9" fmla="*/ 16 h 26"/>
                <a:gd name="T10" fmla="*/ 34 w 36"/>
                <a:gd name="T11" fmla="*/ 2 h 26"/>
                <a:gd name="T12" fmla="*/ 28 w 36"/>
                <a:gd name="T13" fmla="*/ 4 h 26"/>
                <a:gd name="T14" fmla="*/ 20 w 36"/>
                <a:gd name="T15" fmla="*/ 0 h 26"/>
                <a:gd name="T16" fmla="*/ 10 w 36"/>
                <a:gd name="T17" fmla="*/ 4 h 26"/>
                <a:gd name="T18" fmla="*/ 8 w 36"/>
                <a:gd name="T19" fmla="*/ 16 h 26"/>
                <a:gd name="T20" fmla="*/ 0 w 36"/>
                <a:gd name="T21" fmla="*/ 2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26">
                  <a:moveTo>
                    <a:pt x="0" y="20"/>
                  </a:moveTo>
                  <a:lnTo>
                    <a:pt x="10" y="26"/>
                  </a:lnTo>
                  <a:lnTo>
                    <a:pt x="16" y="18"/>
                  </a:lnTo>
                  <a:lnTo>
                    <a:pt x="32" y="12"/>
                  </a:lnTo>
                  <a:lnTo>
                    <a:pt x="36" y="16"/>
                  </a:lnTo>
                  <a:lnTo>
                    <a:pt x="34" y="2"/>
                  </a:lnTo>
                  <a:lnTo>
                    <a:pt x="28" y="4"/>
                  </a:lnTo>
                  <a:lnTo>
                    <a:pt x="20" y="0"/>
                  </a:lnTo>
                  <a:lnTo>
                    <a:pt x="10" y="4"/>
                  </a:lnTo>
                  <a:lnTo>
                    <a:pt x="8" y="16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" name="Freeform 194"/>
            <p:cNvSpPr>
              <a:spLocks/>
            </p:cNvSpPr>
            <p:nvPr/>
          </p:nvSpPr>
          <p:spPr bwMode="auto">
            <a:xfrm>
              <a:off x="7473555" y="1986579"/>
              <a:ext cx="30956" cy="26194"/>
            </a:xfrm>
            <a:custGeom>
              <a:avLst/>
              <a:gdLst>
                <a:gd name="T0" fmla="*/ 0 w 26"/>
                <a:gd name="T1" fmla="*/ 18 h 22"/>
                <a:gd name="T2" fmla="*/ 14 w 26"/>
                <a:gd name="T3" fmla="*/ 22 h 22"/>
                <a:gd name="T4" fmla="*/ 24 w 26"/>
                <a:gd name="T5" fmla="*/ 20 h 22"/>
                <a:gd name="T6" fmla="*/ 26 w 26"/>
                <a:gd name="T7" fmla="*/ 10 h 22"/>
                <a:gd name="T8" fmla="*/ 16 w 26"/>
                <a:gd name="T9" fmla="*/ 0 h 22"/>
                <a:gd name="T10" fmla="*/ 18 w 26"/>
                <a:gd name="T11" fmla="*/ 8 h 22"/>
                <a:gd name="T12" fmla="*/ 16 w 26"/>
                <a:gd name="T13" fmla="*/ 14 h 22"/>
                <a:gd name="T14" fmla="*/ 2 w 26"/>
                <a:gd name="T15" fmla="*/ 14 h 22"/>
                <a:gd name="T16" fmla="*/ 0 w 26"/>
                <a:gd name="T1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22">
                  <a:moveTo>
                    <a:pt x="0" y="18"/>
                  </a:moveTo>
                  <a:lnTo>
                    <a:pt x="14" y="22"/>
                  </a:lnTo>
                  <a:lnTo>
                    <a:pt x="24" y="20"/>
                  </a:lnTo>
                  <a:lnTo>
                    <a:pt x="26" y="10"/>
                  </a:lnTo>
                  <a:lnTo>
                    <a:pt x="16" y="0"/>
                  </a:lnTo>
                  <a:lnTo>
                    <a:pt x="18" y="8"/>
                  </a:lnTo>
                  <a:lnTo>
                    <a:pt x="16" y="14"/>
                  </a:lnTo>
                  <a:lnTo>
                    <a:pt x="2" y="14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" name="Freeform 195"/>
            <p:cNvSpPr>
              <a:spLocks/>
            </p:cNvSpPr>
            <p:nvPr/>
          </p:nvSpPr>
          <p:spPr bwMode="auto">
            <a:xfrm>
              <a:off x="7092554" y="1791316"/>
              <a:ext cx="409575" cy="204788"/>
            </a:xfrm>
            <a:custGeom>
              <a:avLst/>
              <a:gdLst>
                <a:gd name="T0" fmla="*/ 2 w 344"/>
                <a:gd name="T1" fmla="*/ 164 h 172"/>
                <a:gd name="T2" fmla="*/ 0 w 344"/>
                <a:gd name="T3" fmla="*/ 164 h 172"/>
                <a:gd name="T4" fmla="*/ 2 w 344"/>
                <a:gd name="T5" fmla="*/ 72 h 172"/>
                <a:gd name="T6" fmla="*/ 180 w 344"/>
                <a:gd name="T7" fmla="*/ 30 h 172"/>
                <a:gd name="T8" fmla="*/ 208 w 344"/>
                <a:gd name="T9" fmla="*/ 2 h 172"/>
                <a:gd name="T10" fmla="*/ 218 w 344"/>
                <a:gd name="T11" fmla="*/ 0 h 172"/>
                <a:gd name="T12" fmla="*/ 244 w 344"/>
                <a:gd name="T13" fmla="*/ 30 h 172"/>
                <a:gd name="T14" fmla="*/ 238 w 344"/>
                <a:gd name="T15" fmla="*/ 36 h 172"/>
                <a:gd name="T16" fmla="*/ 234 w 344"/>
                <a:gd name="T17" fmla="*/ 52 h 172"/>
                <a:gd name="T18" fmla="*/ 230 w 344"/>
                <a:gd name="T19" fmla="*/ 56 h 172"/>
                <a:gd name="T20" fmla="*/ 228 w 344"/>
                <a:gd name="T21" fmla="*/ 64 h 172"/>
                <a:gd name="T22" fmla="*/ 228 w 344"/>
                <a:gd name="T23" fmla="*/ 72 h 172"/>
                <a:gd name="T24" fmla="*/ 232 w 344"/>
                <a:gd name="T25" fmla="*/ 76 h 172"/>
                <a:gd name="T26" fmla="*/ 248 w 344"/>
                <a:gd name="T27" fmla="*/ 78 h 172"/>
                <a:gd name="T28" fmla="*/ 258 w 344"/>
                <a:gd name="T29" fmla="*/ 84 h 172"/>
                <a:gd name="T30" fmla="*/ 264 w 344"/>
                <a:gd name="T31" fmla="*/ 102 h 172"/>
                <a:gd name="T32" fmla="*/ 274 w 344"/>
                <a:gd name="T33" fmla="*/ 106 h 172"/>
                <a:gd name="T34" fmla="*/ 286 w 344"/>
                <a:gd name="T35" fmla="*/ 124 h 172"/>
                <a:gd name="T36" fmla="*/ 322 w 344"/>
                <a:gd name="T37" fmla="*/ 128 h 172"/>
                <a:gd name="T38" fmla="*/ 332 w 344"/>
                <a:gd name="T39" fmla="*/ 120 h 172"/>
                <a:gd name="T40" fmla="*/ 334 w 344"/>
                <a:gd name="T41" fmla="*/ 114 h 172"/>
                <a:gd name="T42" fmla="*/ 328 w 344"/>
                <a:gd name="T43" fmla="*/ 94 h 172"/>
                <a:gd name="T44" fmla="*/ 332 w 344"/>
                <a:gd name="T45" fmla="*/ 92 h 172"/>
                <a:gd name="T46" fmla="*/ 336 w 344"/>
                <a:gd name="T47" fmla="*/ 94 h 172"/>
                <a:gd name="T48" fmla="*/ 344 w 344"/>
                <a:gd name="T49" fmla="*/ 118 h 172"/>
                <a:gd name="T50" fmla="*/ 342 w 344"/>
                <a:gd name="T51" fmla="*/ 122 h 172"/>
                <a:gd name="T52" fmla="*/ 326 w 344"/>
                <a:gd name="T53" fmla="*/ 140 h 172"/>
                <a:gd name="T54" fmla="*/ 316 w 344"/>
                <a:gd name="T55" fmla="*/ 140 h 172"/>
                <a:gd name="T56" fmla="*/ 298 w 344"/>
                <a:gd name="T57" fmla="*/ 154 h 172"/>
                <a:gd name="T58" fmla="*/ 288 w 344"/>
                <a:gd name="T59" fmla="*/ 154 h 172"/>
                <a:gd name="T60" fmla="*/ 282 w 344"/>
                <a:gd name="T61" fmla="*/ 144 h 172"/>
                <a:gd name="T62" fmla="*/ 276 w 344"/>
                <a:gd name="T63" fmla="*/ 144 h 172"/>
                <a:gd name="T64" fmla="*/ 256 w 344"/>
                <a:gd name="T65" fmla="*/ 164 h 172"/>
                <a:gd name="T66" fmla="*/ 244 w 344"/>
                <a:gd name="T67" fmla="*/ 170 h 172"/>
                <a:gd name="T68" fmla="*/ 238 w 344"/>
                <a:gd name="T69" fmla="*/ 172 h 172"/>
                <a:gd name="T70" fmla="*/ 230 w 344"/>
                <a:gd name="T71" fmla="*/ 156 h 172"/>
                <a:gd name="T72" fmla="*/ 204 w 344"/>
                <a:gd name="T73" fmla="*/ 146 h 172"/>
                <a:gd name="T74" fmla="*/ 202 w 344"/>
                <a:gd name="T75" fmla="*/ 134 h 172"/>
                <a:gd name="T76" fmla="*/ 198 w 344"/>
                <a:gd name="T77" fmla="*/ 134 h 172"/>
                <a:gd name="T78" fmla="*/ 194 w 344"/>
                <a:gd name="T79" fmla="*/ 118 h 172"/>
                <a:gd name="T80" fmla="*/ 70 w 344"/>
                <a:gd name="T81" fmla="*/ 148 h 172"/>
                <a:gd name="T82" fmla="*/ 68 w 344"/>
                <a:gd name="T83" fmla="*/ 154 h 172"/>
                <a:gd name="T84" fmla="*/ 64 w 344"/>
                <a:gd name="T85" fmla="*/ 150 h 172"/>
                <a:gd name="T86" fmla="*/ 2 w 344"/>
                <a:gd name="T87" fmla="*/ 16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44" h="172">
                  <a:moveTo>
                    <a:pt x="2" y="164"/>
                  </a:moveTo>
                  <a:lnTo>
                    <a:pt x="0" y="164"/>
                  </a:lnTo>
                  <a:lnTo>
                    <a:pt x="2" y="72"/>
                  </a:lnTo>
                  <a:lnTo>
                    <a:pt x="180" y="30"/>
                  </a:lnTo>
                  <a:lnTo>
                    <a:pt x="208" y="2"/>
                  </a:lnTo>
                  <a:lnTo>
                    <a:pt x="218" y="0"/>
                  </a:lnTo>
                  <a:lnTo>
                    <a:pt x="244" y="30"/>
                  </a:lnTo>
                  <a:lnTo>
                    <a:pt x="238" y="36"/>
                  </a:lnTo>
                  <a:lnTo>
                    <a:pt x="234" y="52"/>
                  </a:lnTo>
                  <a:lnTo>
                    <a:pt x="230" y="56"/>
                  </a:lnTo>
                  <a:lnTo>
                    <a:pt x="228" y="64"/>
                  </a:lnTo>
                  <a:lnTo>
                    <a:pt x="228" y="72"/>
                  </a:lnTo>
                  <a:lnTo>
                    <a:pt x="232" y="76"/>
                  </a:lnTo>
                  <a:lnTo>
                    <a:pt x="248" y="78"/>
                  </a:lnTo>
                  <a:lnTo>
                    <a:pt x="258" y="84"/>
                  </a:lnTo>
                  <a:lnTo>
                    <a:pt x="264" y="102"/>
                  </a:lnTo>
                  <a:lnTo>
                    <a:pt x="274" y="106"/>
                  </a:lnTo>
                  <a:lnTo>
                    <a:pt x="286" y="124"/>
                  </a:lnTo>
                  <a:lnTo>
                    <a:pt x="322" y="128"/>
                  </a:lnTo>
                  <a:lnTo>
                    <a:pt x="332" y="120"/>
                  </a:lnTo>
                  <a:lnTo>
                    <a:pt x="334" y="114"/>
                  </a:lnTo>
                  <a:lnTo>
                    <a:pt x="328" y="94"/>
                  </a:lnTo>
                  <a:lnTo>
                    <a:pt x="332" y="92"/>
                  </a:lnTo>
                  <a:lnTo>
                    <a:pt x="336" y="94"/>
                  </a:lnTo>
                  <a:lnTo>
                    <a:pt x="344" y="118"/>
                  </a:lnTo>
                  <a:lnTo>
                    <a:pt x="342" y="122"/>
                  </a:lnTo>
                  <a:lnTo>
                    <a:pt x="326" y="140"/>
                  </a:lnTo>
                  <a:lnTo>
                    <a:pt x="316" y="140"/>
                  </a:lnTo>
                  <a:lnTo>
                    <a:pt x="298" y="154"/>
                  </a:lnTo>
                  <a:lnTo>
                    <a:pt x="288" y="154"/>
                  </a:lnTo>
                  <a:lnTo>
                    <a:pt x="282" y="144"/>
                  </a:lnTo>
                  <a:lnTo>
                    <a:pt x="276" y="144"/>
                  </a:lnTo>
                  <a:lnTo>
                    <a:pt x="256" y="164"/>
                  </a:lnTo>
                  <a:lnTo>
                    <a:pt x="244" y="170"/>
                  </a:lnTo>
                  <a:lnTo>
                    <a:pt x="238" y="172"/>
                  </a:lnTo>
                  <a:lnTo>
                    <a:pt x="230" y="156"/>
                  </a:lnTo>
                  <a:lnTo>
                    <a:pt x="204" y="146"/>
                  </a:lnTo>
                  <a:lnTo>
                    <a:pt x="202" y="134"/>
                  </a:lnTo>
                  <a:lnTo>
                    <a:pt x="198" y="134"/>
                  </a:lnTo>
                  <a:lnTo>
                    <a:pt x="194" y="118"/>
                  </a:lnTo>
                  <a:lnTo>
                    <a:pt x="70" y="148"/>
                  </a:lnTo>
                  <a:lnTo>
                    <a:pt x="68" y="154"/>
                  </a:lnTo>
                  <a:lnTo>
                    <a:pt x="64" y="150"/>
                  </a:lnTo>
                  <a:lnTo>
                    <a:pt x="2" y="164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" name="Freeform 197"/>
            <p:cNvSpPr>
              <a:spLocks/>
            </p:cNvSpPr>
            <p:nvPr/>
          </p:nvSpPr>
          <p:spPr bwMode="auto">
            <a:xfrm>
              <a:off x="6023374" y="2837876"/>
              <a:ext cx="1031081" cy="481013"/>
            </a:xfrm>
            <a:custGeom>
              <a:avLst/>
              <a:gdLst>
                <a:gd name="T0" fmla="*/ 242 w 866"/>
                <a:gd name="T1" fmla="*/ 100 h 404"/>
                <a:gd name="T2" fmla="*/ 242 w 866"/>
                <a:gd name="T3" fmla="*/ 124 h 404"/>
                <a:gd name="T4" fmla="*/ 244 w 866"/>
                <a:gd name="T5" fmla="*/ 142 h 404"/>
                <a:gd name="T6" fmla="*/ 224 w 866"/>
                <a:gd name="T7" fmla="*/ 150 h 404"/>
                <a:gd name="T8" fmla="*/ 196 w 866"/>
                <a:gd name="T9" fmla="*/ 172 h 404"/>
                <a:gd name="T10" fmla="*/ 164 w 866"/>
                <a:gd name="T11" fmla="*/ 202 h 404"/>
                <a:gd name="T12" fmla="*/ 142 w 866"/>
                <a:gd name="T13" fmla="*/ 200 h 404"/>
                <a:gd name="T14" fmla="*/ 130 w 866"/>
                <a:gd name="T15" fmla="*/ 208 h 404"/>
                <a:gd name="T16" fmla="*/ 124 w 866"/>
                <a:gd name="T17" fmla="*/ 230 h 404"/>
                <a:gd name="T18" fmla="*/ 76 w 866"/>
                <a:gd name="T19" fmla="*/ 264 h 404"/>
                <a:gd name="T20" fmla="*/ 38 w 866"/>
                <a:gd name="T21" fmla="*/ 276 h 404"/>
                <a:gd name="T22" fmla="*/ 20 w 866"/>
                <a:gd name="T23" fmla="*/ 310 h 404"/>
                <a:gd name="T24" fmla="*/ 0 w 866"/>
                <a:gd name="T25" fmla="*/ 316 h 404"/>
                <a:gd name="T26" fmla="*/ 124 w 866"/>
                <a:gd name="T27" fmla="*/ 328 h 404"/>
                <a:gd name="T28" fmla="*/ 160 w 866"/>
                <a:gd name="T29" fmla="*/ 318 h 404"/>
                <a:gd name="T30" fmla="*/ 190 w 866"/>
                <a:gd name="T31" fmla="*/ 300 h 404"/>
                <a:gd name="T32" fmla="*/ 332 w 866"/>
                <a:gd name="T33" fmla="*/ 284 h 404"/>
                <a:gd name="T34" fmla="*/ 344 w 866"/>
                <a:gd name="T35" fmla="*/ 286 h 404"/>
                <a:gd name="T36" fmla="*/ 364 w 866"/>
                <a:gd name="T37" fmla="*/ 322 h 404"/>
                <a:gd name="T38" fmla="*/ 614 w 866"/>
                <a:gd name="T39" fmla="*/ 404 h 404"/>
                <a:gd name="T40" fmla="*/ 688 w 866"/>
                <a:gd name="T41" fmla="*/ 366 h 404"/>
                <a:gd name="T42" fmla="*/ 708 w 866"/>
                <a:gd name="T43" fmla="*/ 316 h 404"/>
                <a:gd name="T44" fmla="*/ 792 w 866"/>
                <a:gd name="T45" fmla="*/ 270 h 404"/>
                <a:gd name="T46" fmla="*/ 818 w 866"/>
                <a:gd name="T47" fmla="*/ 236 h 404"/>
                <a:gd name="T48" fmla="*/ 798 w 866"/>
                <a:gd name="T49" fmla="*/ 222 h 404"/>
                <a:gd name="T50" fmla="*/ 788 w 866"/>
                <a:gd name="T51" fmla="*/ 232 h 404"/>
                <a:gd name="T52" fmla="*/ 786 w 866"/>
                <a:gd name="T53" fmla="*/ 218 h 404"/>
                <a:gd name="T54" fmla="*/ 794 w 866"/>
                <a:gd name="T55" fmla="*/ 198 h 404"/>
                <a:gd name="T56" fmla="*/ 792 w 866"/>
                <a:gd name="T57" fmla="*/ 182 h 404"/>
                <a:gd name="T58" fmla="*/ 784 w 866"/>
                <a:gd name="T59" fmla="*/ 172 h 404"/>
                <a:gd name="T60" fmla="*/ 802 w 866"/>
                <a:gd name="T61" fmla="*/ 170 h 404"/>
                <a:gd name="T62" fmla="*/ 816 w 866"/>
                <a:gd name="T63" fmla="*/ 176 h 404"/>
                <a:gd name="T64" fmla="*/ 844 w 866"/>
                <a:gd name="T65" fmla="*/ 164 h 404"/>
                <a:gd name="T66" fmla="*/ 866 w 866"/>
                <a:gd name="T67" fmla="*/ 130 h 404"/>
                <a:gd name="T68" fmla="*/ 848 w 866"/>
                <a:gd name="T69" fmla="*/ 92 h 404"/>
                <a:gd name="T70" fmla="*/ 836 w 866"/>
                <a:gd name="T71" fmla="*/ 124 h 404"/>
                <a:gd name="T72" fmla="*/ 828 w 866"/>
                <a:gd name="T73" fmla="*/ 118 h 404"/>
                <a:gd name="T74" fmla="*/ 778 w 866"/>
                <a:gd name="T75" fmla="*/ 112 h 404"/>
                <a:gd name="T76" fmla="*/ 756 w 866"/>
                <a:gd name="T77" fmla="*/ 70 h 404"/>
                <a:gd name="T78" fmla="*/ 768 w 866"/>
                <a:gd name="T79" fmla="*/ 90 h 404"/>
                <a:gd name="T80" fmla="*/ 786 w 866"/>
                <a:gd name="T81" fmla="*/ 92 h 404"/>
                <a:gd name="T82" fmla="*/ 816 w 866"/>
                <a:gd name="T83" fmla="*/ 70 h 404"/>
                <a:gd name="T84" fmla="*/ 828 w 866"/>
                <a:gd name="T85" fmla="*/ 64 h 404"/>
                <a:gd name="T86" fmla="*/ 848 w 866"/>
                <a:gd name="T87" fmla="*/ 76 h 404"/>
                <a:gd name="T88" fmla="*/ 842 w 866"/>
                <a:gd name="T89" fmla="*/ 60 h 404"/>
                <a:gd name="T90" fmla="*/ 826 w 866"/>
                <a:gd name="T91" fmla="*/ 36 h 404"/>
                <a:gd name="T92" fmla="*/ 822 w 866"/>
                <a:gd name="T93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66" h="404">
                  <a:moveTo>
                    <a:pt x="744" y="16"/>
                  </a:moveTo>
                  <a:lnTo>
                    <a:pt x="242" y="100"/>
                  </a:lnTo>
                  <a:lnTo>
                    <a:pt x="240" y="118"/>
                  </a:lnTo>
                  <a:lnTo>
                    <a:pt x="242" y="124"/>
                  </a:lnTo>
                  <a:lnTo>
                    <a:pt x="238" y="136"/>
                  </a:lnTo>
                  <a:lnTo>
                    <a:pt x="244" y="142"/>
                  </a:lnTo>
                  <a:lnTo>
                    <a:pt x="234" y="142"/>
                  </a:lnTo>
                  <a:lnTo>
                    <a:pt x="224" y="150"/>
                  </a:lnTo>
                  <a:lnTo>
                    <a:pt x="212" y="178"/>
                  </a:lnTo>
                  <a:lnTo>
                    <a:pt x="196" y="172"/>
                  </a:lnTo>
                  <a:lnTo>
                    <a:pt x="188" y="176"/>
                  </a:lnTo>
                  <a:lnTo>
                    <a:pt x="164" y="202"/>
                  </a:lnTo>
                  <a:lnTo>
                    <a:pt x="156" y="190"/>
                  </a:lnTo>
                  <a:lnTo>
                    <a:pt x="142" y="200"/>
                  </a:lnTo>
                  <a:lnTo>
                    <a:pt x="140" y="210"/>
                  </a:lnTo>
                  <a:lnTo>
                    <a:pt x="130" y="208"/>
                  </a:lnTo>
                  <a:lnTo>
                    <a:pt x="130" y="216"/>
                  </a:lnTo>
                  <a:lnTo>
                    <a:pt x="124" y="230"/>
                  </a:lnTo>
                  <a:lnTo>
                    <a:pt x="106" y="236"/>
                  </a:lnTo>
                  <a:lnTo>
                    <a:pt x="76" y="264"/>
                  </a:lnTo>
                  <a:lnTo>
                    <a:pt x="50" y="268"/>
                  </a:lnTo>
                  <a:lnTo>
                    <a:pt x="38" y="276"/>
                  </a:lnTo>
                  <a:lnTo>
                    <a:pt x="26" y="288"/>
                  </a:lnTo>
                  <a:lnTo>
                    <a:pt x="20" y="310"/>
                  </a:lnTo>
                  <a:lnTo>
                    <a:pt x="4" y="310"/>
                  </a:lnTo>
                  <a:lnTo>
                    <a:pt x="0" y="316"/>
                  </a:lnTo>
                  <a:lnTo>
                    <a:pt x="0" y="344"/>
                  </a:lnTo>
                  <a:lnTo>
                    <a:pt x="124" y="328"/>
                  </a:lnTo>
                  <a:lnTo>
                    <a:pt x="156" y="316"/>
                  </a:lnTo>
                  <a:lnTo>
                    <a:pt x="160" y="318"/>
                  </a:lnTo>
                  <a:lnTo>
                    <a:pt x="166" y="308"/>
                  </a:lnTo>
                  <a:lnTo>
                    <a:pt x="190" y="300"/>
                  </a:lnTo>
                  <a:lnTo>
                    <a:pt x="194" y="294"/>
                  </a:lnTo>
                  <a:lnTo>
                    <a:pt x="332" y="284"/>
                  </a:lnTo>
                  <a:lnTo>
                    <a:pt x="336" y="294"/>
                  </a:lnTo>
                  <a:lnTo>
                    <a:pt x="344" y="286"/>
                  </a:lnTo>
                  <a:lnTo>
                    <a:pt x="362" y="304"/>
                  </a:lnTo>
                  <a:lnTo>
                    <a:pt x="364" y="322"/>
                  </a:lnTo>
                  <a:lnTo>
                    <a:pt x="480" y="304"/>
                  </a:lnTo>
                  <a:lnTo>
                    <a:pt x="614" y="404"/>
                  </a:lnTo>
                  <a:lnTo>
                    <a:pt x="656" y="388"/>
                  </a:lnTo>
                  <a:lnTo>
                    <a:pt x="688" y="366"/>
                  </a:lnTo>
                  <a:lnTo>
                    <a:pt x="690" y="354"/>
                  </a:lnTo>
                  <a:lnTo>
                    <a:pt x="708" y="316"/>
                  </a:lnTo>
                  <a:lnTo>
                    <a:pt x="752" y="280"/>
                  </a:lnTo>
                  <a:lnTo>
                    <a:pt x="792" y="270"/>
                  </a:lnTo>
                  <a:lnTo>
                    <a:pt x="816" y="248"/>
                  </a:lnTo>
                  <a:lnTo>
                    <a:pt x="818" y="236"/>
                  </a:lnTo>
                  <a:lnTo>
                    <a:pt x="814" y="222"/>
                  </a:lnTo>
                  <a:lnTo>
                    <a:pt x="798" y="222"/>
                  </a:lnTo>
                  <a:lnTo>
                    <a:pt x="788" y="228"/>
                  </a:lnTo>
                  <a:lnTo>
                    <a:pt x="788" y="232"/>
                  </a:lnTo>
                  <a:lnTo>
                    <a:pt x="786" y="228"/>
                  </a:lnTo>
                  <a:lnTo>
                    <a:pt x="786" y="218"/>
                  </a:lnTo>
                  <a:lnTo>
                    <a:pt x="792" y="208"/>
                  </a:lnTo>
                  <a:lnTo>
                    <a:pt x="794" y="198"/>
                  </a:lnTo>
                  <a:lnTo>
                    <a:pt x="802" y="188"/>
                  </a:lnTo>
                  <a:lnTo>
                    <a:pt x="792" y="182"/>
                  </a:lnTo>
                  <a:lnTo>
                    <a:pt x="762" y="176"/>
                  </a:lnTo>
                  <a:lnTo>
                    <a:pt x="784" y="172"/>
                  </a:lnTo>
                  <a:lnTo>
                    <a:pt x="794" y="158"/>
                  </a:lnTo>
                  <a:lnTo>
                    <a:pt x="802" y="170"/>
                  </a:lnTo>
                  <a:lnTo>
                    <a:pt x="808" y="170"/>
                  </a:lnTo>
                  <a:lnTo>
                    <a:pt x="816" y="176"/>
                  </a:lnTo>
                  <a:lnTo>
                    <a:pt x="834" y="172"/>
                  </a:lnTo>
                  <a:lnTo>
                    <a:pt x="844" y="164"/>
                  </a:lnTo>
                  <a:lnTo>
                    <a:pt x="856" y="138"/>
                  </a:lnTo>
                  <a:lnTo>
                    <a:pt x="866" y="130"/>
                  </a:lnTo>
                  <a:lnTo>
                    <a:pt x="858" y="102"/>
                  </a:lnTo>
                  <a:lnTo>
                    <a:pt x="848" y="92"/>
                  </a:lnTo>
                  <a:lnTo>
                    <a:pt x="840" y="104"/>
                  </a:lnTo>
                  <a:lnTo>
                    <a:pt x="836" y="124"/>
                  </a:lnTo>
                  <a:lnTo>
                    <a:pt x="834" y="124"/>
                  </a:lnTo>
                  <a:lnTo>
                    <a:pt x="828" y="118"/>
                  </a:lnTo>
                  <a:lnTo>
                    <a:pt x="822" y="96"/>
                  </a:lnTo>
                  <a:lnTo>
                    <a:pt x="778" y="112"/>
                  </a:lnTo>
                  <a:lnTo>
                    <a:pt x="766" y="112"/>
                  </a:lnTo>
                  <a:lnTo>
                    <a:pt x="756" y="70"/>
                  </a:lnTo>
                  <a:lnTo>
                    <a:pt x="758" y="66"/>
                  </a:lnTo>
                  <a:lnTo>
                    <a:pt x="768" y="90"/>
                  </a:lnTo>
                  <a:lnTo>
                    <a:pt x="776" y="94"/>
                  </a:lnTo>
                  <a:lnTo>
                    <a:pt x="786" y="92"/>
                  </a:lnTo>
                  <a:lnTo>
                    <a:pt x="810" y="70"/>
                  </a:lnTo>
                  <a:lnTo>
                    <a:pt x="816" y="70"/>
                  </a:lnTo>
                  <a:lnTo>
                    <a:pt x="816" y="62"/>
                  </a:lnTo>
                  <a:lnTo>
                    <a:pt x="828" y="64"/>
                  </a:lnTo>
                  <a:lnTo>
                    <a:pt x="838" y="62"/>
                  </a:lnTo>
                  <a:lnTo>
                    <a:pt x="848" y="76"/>
                  </a:lnTo>
                  <a:lnTo>
                    <a:pt x="848" y="74"/>
                  </a:lnTo>
                  <a:lnTo>
                    <a:pt x="842" y="60"/>
                  </a:lnTo>
                  <a:lnTo>
                    <a:pt x="832" y="52"/>
                  </a:lnTo>
                  <a:lnTo>
                    <a:pt x="826" y="36"/>
                  </a:lnTo>
                  <a:lnTo>
                    <a:pt x="822" y="30"/>
                  </a:lnTo>
                  <a:lnTo>
                    <a:pt x="822" y="0"/>
                  </a:lnTo>
                  <a:lnTo>
                    <a:pt x="744" y="1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5" name="Freeform 198"/>
            <p:cNvSpPr>
              <a:spLocks/>
            </p:cNvSpPr>
            <p:nvPr/>
          </p:nvSpPr>
          <p:spPr bwMode="auto">
            <a:xfrm>
              <a:off x="5549503" y="3264119"/>
              <a:ext cx="452438" cy="742950"/>
            </a:xfrm>
            <a:custGeom>
              <a:avLst/>
              <a:gdLst>
                <a:gd name="T0" fmla="*/ 20 w 380"/>
                <a:gd name="T1" fmla="*/ 610 h 624"/>
                <a:gd name="T2" fmla="*/ 36 w 380"/>
                <a:gd name="T3" fmla="*/ 610 h 624"/>
                <a:gd name="T4" fmla="*/ 44 w 380"/>
                <a:gd name="T5" fmla="*/ 606 h 624"/>
                <a:gd name="T6" fmla="*/ 56 w 380"/>
                <a:gd name="T7" fmla="*/ 540 h 624"/>
                <a:gd name="T8" fmla="*/ 70 w 380"/>
                <a:gd name="T9" fmla="*/ 604 h 624"/>
                <a:gd name="T10" fmla="*/ 64 w 380"/>
                <a:gd name="T11" fmla="*/ 616 h 624"/>
                <a:gd name="T12" fmla="*/ 68 w 380"/>
                <a:gd name="T13" fmla="*/ 624 h 624"/>
                <a:gd name="T14" fmla="*/ 126 w 380"/>
                <a:gd name="T15" fmla="*/ 604 h 624"/>
                <a:gd name="T16" fmla="*/ 122 w 380"/>
                <a:gd name="T17" fmla="*/ 584 h 624"/>
                <a:gd name="T18" fmla="*/ 126 w 380"/>
                <a:gd name="T19" fmla="*/ 568 h 624"/>
                <a:gd name="T20" fmla="*/ 100 w 380"/>
                <a:gd name="T21" fmla="*/ 544 h 624"/>
                <a:gd name="T22" fmla="*/ 100 w 380"/>
                <a:gd name="T23" fmla="*/ 526 h 624"/>
                <a:gd name="T24" fmla="*/ 380 w 380"/>
                <a:gd name="T25" fmla="*/ 500 h 624"/>
                <a:gd name="T26" fmla="*/ 368 w 380"/>
                <a:gd name="T27" fmla="*/ 480 h 624"/>
                <a:gd name="T28" fmla="*/ 368 w 380"/>
                <a:gd name="T29" fmla="*/ 410 h 624"/>
                <a:gd name="T30" fmla="*/ 360 w 380"/>
                <a:gd name="T31" fmla="*/ 388 h 624"/>
                <a:gd name="T32" fmla="*/ 360 w 380"/>
                <a:gd name="T33" fmla="*/ 358 h 624"/>
                <a:gd name="T34" fmla="*/ 376 w 380"/>
                <a:gd name="T35" fmla="*/ 338 h 624"/>
                <a:gd name="T36" fmla="*/ 364 w 380"/>
                <a:gd name="T37" fmla="*/ 332 h 624"/>
                <a:gd name="T38" fmla="*/ 366 w 380"/>
                <a:gd name="T39" fmla="*/ 320 h 624"/>
                <a:gd name="T40" fmla="*/ 348 w 380"/>
                <a:gd name="T41" fmla="*/ 294 h 624"/>
                <a:gd name="T42" fmla="*/ 264 w 380"/>
                <a:gd name="T43" fmla="*/ 0 h 624"/>
                <a:gd name="T44" fmla="*/ 0 w 380"/>
                <a:gd name="T45" fmla="*/ 22 h 624"/>
                <a:gd name="T46" fmla="*/ 12 w 380"/>
                <a:gd name="T47" fmla="*/ 36 h 624"/>
                <a:gd name="T48" fmla="*/ 20 w 380"/>
                <a:gd name="T49" fmla="*/ 610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0" h="624">
                  <a:moveTo>
                    <a:pt x="20" y="610"/>
                  </a:moveTo>
                  <a:lnTo>
                    <a:pt x="36" y="610"/>
                  </a:lnTo>
                  <a:lnTo>
                    <a:pt x="44" y="606"/>
                  </a:lnTo>
                  <a:lnTo>
                    <a:pt x="56" y="540"/>
                  </a:lnTo>
                  <a:lnTo>
                    <a:pt x="70" y="604"/>
                  </a:lnTo>
                  <a:lnTo>
                    <a:pt x="64" y="616"/>
                  </a:lnTo>
                  <a:lnTo>
                    <a:pt x="68" y="624"/>
                  </a:lnTo>
                  <a:lnTo>
                    <a:pt x="126" y="604"/>
                  </a:lnTo>
                  <a:lnTo>
                    <a:pt x="122" y="584"/>
                  </a:lnTo>
                  <a:lnTo>
                    <a:pt x="126" y="568"/>
                  </a:lnTo>
                  <a:lnTo>
                    <a:pt x="100" y="544"/>
                  </a:lnTo>
                  <a:lnTo>
                    <a:pt x="100" y="526"/>
                  </a:lnTo>
                  <a:lnTo>
                    <a:pt x="380" y="500"/>
                  </a:lnTo>
                  <a:lnTo>
                    <a:pt x="368" y="480"/>
                  </a:lnTo>
                  <a:lnTo>
                    <a:pt x="368" y="410"/>
                  </a:lnTo>
                  <a:lnTo>
                    <a:pt x="360" y="388"/>
                  </a:lnTo>
                  <a:lnTo>
                    <a:pt x="360" y="358"/>
                  </a:lnTo>
                  <a:lnTo>
                    <a:pt x="376" y="338"/>
                  </a:lnTo>
                  <a:lnTo>
                    <a:pt x="364" y="332"/>
                  </a:lnTo>
                  <a:lnTo>
                    <a:pt x="366" y="320"/>
                  </a:lnTo>
                  <a:lnTo>
                    <a:pt x="348" y="294"/>
                  </a:lnTo>
                  <a:lnTo>
                    <a:pt x="264" y="0"/>
                  </a:lnTo>
                  <a:lnTo>
                    <a:pt x="0" y="22"/>
                  </a:lnTo>
                  <a:lnTo>
                    <a:pt x="12" y="36"/>
                  </a:lnTo>
                  <a:lnTo>
                    <a:pt x="20" y="61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6" name="Freeform 199"/>
            <p:cNvSpPr>
              <a:spLocks/>
            </p:cNvSpPr>
            <p:nvPr/>
          </p:nvSpPr>
          <p:spPr bwMode="auto">
            <a:xfrm>
              <a:off x="4761311" y="3078382"/>
              <a:ext cx="600075" cy="545306"/>
            </a:xfrm>
            <a:custGeom>
              <a:avLst/>
              <a:gdLst>
                <a:gd name="T0" fmla="*/ 364 w 504"/>
                <a:gd name="T1" fmla="*/ 4 h 458"/>
                <a:gd name="T2" fmla="*/ 0 w 504"/>
                <a:gd name="T3" fmla="*/ 14 h 458"/>
                <a:gd name="T4" fmla="*/ 16 w 504"/>
                <a:gd name="T5" fmla="*/ 378 h 458"/>
                <a:gd name="T6" fmla="*/ 24 w 504"/>
                <a:gd name="T7" fmla="*/ 388 h 458"/>
                <a:gd name="T8" fmla="*/ 46 w 504"/>
                <a:gd name="T9" fmla="*/ 384 h 458"/>
                <a:gd name="T10" fmla="*/ 60 w 504"/>
                <a:gd name="T11" fmla="*/ 390 h 458"/>
                <a:gd name="T12" fmla="*/ 62 w 504"/>
                <a:gd name="T13" fmla="*/ 458 h 458"/>
                <a:gd name="T14" fmla="*/ 368 w 504"/>
                <a:gd name="T15" fmla="*/ 450 h 458"/>
                <a:gd name="T16" fmla="*/ 366 w 504"/>
                <a:gd name="T17" fmla="*/ 436 h 458"/>
                <a:gd name="T18" fmla="*/ 372 w 504"/>
                <a:gd name="T19" fmla="*/ 430 h 458"/>
                <a:gd name="T20" fmla="*/ 372 w 504"/>
                <a:gd name="T21" fmla="*/ 418 h 458"/>
                <a:gd name="T22" fmla="*/ 364 w 504"/>
                <a:gd name="T23" fmla="*/ 412 h 458"/>
                <a:gd name="T24" fmla="*/ 368 w 504"/>
                <a:gd name="T25" fmla="*/ 392 h 458"/>
                <a:gd name="T26" fmla="*/ 356 w 504"/>
                <a:gd name="T27" fmla="*/ 382 h 458"/>
                <a:gd name="T28" fmla="*/ 364 w 504"/>
                <a:gd name="T29" fmla="*/ 378 h 458"/>
                <a:gd name="T30" fmla="*/ 364 w 504"/>
                <a:gd name="T31" fmla="*/ 372 h 458"/>
                <a:gd name="T32" fmla="*/ 356 w 504"/>
                <a:gd name="T33" fmla="*/ 366 h 458"/>
                <a:gd name="T34" fmla="*/ 372 w 504"/>
                <a:gd name="T35" fmla="*/ 350 h 458"/>
                <a:gd name="T36" fmla="*/ 376 w 504"/>
                <a:gd name="T37" fmla="*/ 332 h 458"/>
                <a:gd name="T38" fmla="*/ 370 w 504"/>
                <a:gd name="T39" fmla="*/ 326 h 458"/>
                <a:gd name="T40" fmla="*/ 390 w 504"/>
                <a:gd name="T41" fmla="*/ 318 h 458"/>
                <a:gd name="T42" fmla="*/ 390 w 504"/>
                <a:gd name="T43" fmla="*/ 310 h 458"/>
                <a:gd name="T44" fmla="*/ 382 w 504"/>
                <a:gd name="T45" fmla="*/ 304 h 458"/>
                <a:gd name="T46" fmla="*/ 392 w 504"/>
                <a:gd name="T47" fmla="*/ 298 h 458"/>
                <a:gd name="T48" fmla="*/ 394 w 504"/>
                <a:gd name="T49" fmla="*/ 288 h 458"/>
                <a:gd name="T50" fmla="*/ 400 w 504"/>
                <a:gd name="T51" fmla="*/ 288 h 458"/>
                <a:gd name="T52" fmla="*/ 400 w 504"/>
                <a:gd name="T53" fmla="*/ 276 h 458"/>
                <a:gd name="T54" fmla="*/ 420 w 504"/>
                <a:gd name="T55" fmla="*/ 268 h 458"/>
                <a:gd name="T56" fmla="*/ 416 w 504"/>
                <a:gd name="T57" fmla="*/ 242 h 458"/>
                <a:gd name="T58" fmla="*/ 420 w 504"/>
                <a:gd name="T59" fmla="*/ 228 h 458"/>
                <a:gd name="T60" fmla="*/ 430 w 504"/>
                <a:gd name="T61" fmla="*/ 228 h 458"/>
                <a:gd name="T62" fmla="*/ 430 w 504"/>
                <a:gd name="T63" fmla="*/ 218 h 458"/>
                <a:gd name="T64" fmla="*/ 448 w 504"/>
                <a:gd name="T65" fmla="*/ 204 h 458"/>
                <a:gd name="T66" fmla="*/ 444 w 504"/>
                <a:gd name="T67" fmla="*/ 192 h 458"/>
                <a:gd name="T68" fmla="*/ 454 w 504"/>
                <a:gd name="T69" fmla="*/ 186 h 458"/>
                <a:gd name="T70" fmla="*/ 456 w 504"/>
                <a:gd name="T71" fmla="*/ 178 h 458"/>
                <a:gd name="T72" fmla="*/ 466 w 504"/>
                <a:gd name="T73" fmla="*/ 176 h 458"/>
                <a:gd name="T74" fmla="*/ 462 w 504"/>
                <a:gd name="T75" fmla="*/ 148 h 458"/>
                <a:gd name="T76" fmla="*/ 472 w 504"/>
                <a:gd name="T77" fmla="*/ 126 h 458"/>
                <a:gd name="T78" fmla="*/ 480 w 504"/>
                <a:gd name="T79" fmla="*/ 124 h 458"/>
                <a:gd name="T80" fmla="*/ 476 w 504"/>
                <a:gd name="T81" fmla="*/ 116 h 458"/>
                <a:gd name="T82" fmla="*/ 482 w 504"/>
                <a:gd name="T83" fmla="*/ 110 h 458"/>
                <a:gd name="T84" fmla="*/ 476 w 504"/>
                <a:gd name="T85" fmla="*/ 100 h 458"/>
                <a:gd name="T86" fmla="*/ 496 w 504"/>
                <a:gd name="T87" fmla="*/ 88 h 458"/>
                <a:gd name="T88" fmla="*/ 498 w 504"/>
                <a:gd name="T89" fmla="*/ 84 h 458"/>
                <a:gd name="T90" fmla="*/ 492 w 504"/>
                <a:gd name="T91" fmla="*/ 78 h 458"/>
                <a:gd name="T92" fmla="*/ 504 w 504"/>
                <a:gd name="T93" fmla="*/ 76 h 458"/>
                <a:gd name="T94" fmla="*/ 496 w 504"/>
                <a:gd name="T95" fmla="*/ 64 h 458"/>
                <a:gd name="T96" fmla="*/ 430 w 504"/>
                <a:gd name="T97" fmla="*/ 66 h 458"/>
                <a:gd name="T98" fmla="*/ 460 w 504"/>
                <a:gd name="T99" fmla="*/ 28 h 458"/>
                <a:gd name="T100" fmla="*/ 460 w 504"/>
                <a:gd name="T101" fmla="*/ 18 h 458"/>
                <a:gd name="T102" fmla="*/ 450 w 504"/>
                <a:gd name="T103" fmla="*/ 0 h 458"/>
                <a:gd name="T104" fmla="*/ 364 w 504"/>
                <a:gd name="T105" fmla="*/ 4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04" h="458">
                  <a:moveTo>
                    <a:pt x="364" y="4"/>
                  </a:moveTo>
                  <a:lnTo>
                    <a:pt x="0" y="14"/>
                  </a:lnTo>
                  <a:lnTo>
                    <a:pt x="16" y="378"/>
                  </a:lnTo>
                  <a:lnTo>
                    <a:pt x="24" y="388"/>
                  </a:lnTo>
                  <a:lnTo>
                    <a:pt x="46" y="384"/>
                  </a:lnTo>
                  <a:lnTo>
                    <a:pt x="60" y="390"/>
                  </a:lnTo>
                  <a:lnTo>
                    <a:pt x="62" y="458"/>
                  </a:lnTo>
                  <a:lnTo>
                    <a:pt x="368" y="450"/>
                  </a:lnTo>
                  <a:lnTo>
                    <a:pt x="366" y="436"/>
                  </a:lnTo>
                  <a:lnTo>
                    <a:pt x="372" y="430"/>
                  </a:lnTo>
                  <a:lnTo>
                    <a:pt x="372" y="418"/>
                  </a:lnTo>
                  <a:lnTo>
                    <a:pt x="364" y="412"/>
                  </a:lnTo>
                  <a:lnTo>
                    <a:pt x="368" y="392"/>
                  </a:lnTo>
                  <a:lnTo>
                    <a:pt x="356" y="382"/>
                  </a:lnTo>
                  <a:lnTo>
                    <a:pt x="364" y="378"/>
                  </a:lnTo>
                  <a:lnTo>
                    <a:pt x="364" y="372"/>
                  </a:lnTo>
                  <a:lnTo>
                    <a:pt x="356" y="366"/>
                  </a:lnTo>
                  <a:lnTo>
                    <a:pt x="372" y="350"/>
                  </a:lnTo>
                  <a:lnTo>
                    <a:pt x="376" y="332"/>
                  </a:lnTo>
                  <a:lnTo>
                    <a:pt x="370" y="326"/>
                  </a:lnTo>
                  <a:lnTo>
                    <a:pt x="390" y="318"/>
                  </a:lnTo>
                  <a:lnTo>
                    <a:pt x="390" y="310"/>
                  </a:lnTo>
                  <a:lnTo>
                    <a:pt x="382" y="304"/>
                  </a:lnTo>
                  <a:lnTo>
                    <a:pt x="392" y="298"/>
                  </a:lnTo>
                  <a:lnTo>
                    <a:pt x="394" y="288"/>
                  </a:lnTo>
                  <a:lnTo>
                    <a:pt x="400" y="288"/>
                  </a:lnTo>
                  <a:lnTo>
                    <a:pt x="400" y="276"/>
                  </a:lnTo>
                  <a:lnTo>
                    <a:pt x="420" y="268"/>
                  </a:lnTo>
                  <a:lnTo>
                    <a:pt x="416" y="242"/>
                  </a:lnTo>
                  <a:lnTo>
                    <a:pt x="420" y="228"/>
                  </a:lnTo>
                  <a:lnTo>
                    <a:pt x="430" y="228"/>
                  </a:lnTo>
                  <a:lnTo>
                    <a:pt x="430" y="218"/>
                  </a:lnTo>
                  <a:lnTo>
                    <a:pt x="448" y="204"/>
                  </a:lnTo>
                  <a:lnTo>
                    <a:pt x="444" y="192"/>
                  </a:lnTo>
                  <a:lnTo>
                    <a:pt x="454" y="186"/>
                  </a:lnTo>
                  <a:lnTo>
                    <a:pt x="456" y="178"/>
                  </a:lnTo>
                  <a:lnTo>
                    <a:pt x="466" y="176"/>
                  </a:lnTo>
                  <a:lnTo>
                    <a:pt x="462" y="148"/>
                  </a:lnTo>
                  <a:lnTo>
                    <a:pt x="472" y="126"/>
                  </a:lnTo>
                  <a:lnTo>
                    <a:pt x="480" y="124"/>
                  </a:lnTo>
                  <a:lnTo>
                    <a:pt x="476" y="116"/>
                  </a:lnTo>
                  <a:lnTo>
                    <a:pt x="482" y="110"/>
                  </a:lnTo>
                  <a:lnTo>
                    <a:pt x="476" y="100"/>
                  </a:lnTo>
                  <a:lnTo>
                    <a:pt x="496" y="88"/>
                  </a:lnTo>
                  <a:lnTo>
                    <a:pt x="498" y="84"/>
                  </a:lnTo>
                  <a:lnTo>
                    <a:pt x="492" y="78"/>
                  </a:lnTo>
                  <a:lnTo>
                    <a:pt x="504" y="76"/>
                  </a:lnTo>
                  <a:lnTo>
                    <a:pt x="496" y="64"/>
                  </a:lnTo>
                  <a:lnTo>
                    <a:pt x="430" y="66"/>
                  </a:lnTo>
                  <a:lnTo>
                    <a:pt x="460" y="28"/>
                  </a:lnTo>
                  <a:lnTo>
                    <a:pt x="460" y="18"/>
                  </a:lnTo>
                  <a:lnTo>
                    <a:pt x="450" y="0"/>
                  </a:lnTo>
                  <a:lnTo>
                    <a:pt x="364" y="4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7" name="Freeform 200"/>
            <p:cNvSpPr>
              <a:spLocks/>
            </p:cNvSpPr>
            <p:nvPr/>
          </p:nvSpPr>
          <p:spPr bwMode="auto">
            <a:xfrm>
              <a:off x="3876676" y="2531884"/>
              <a:ext cx="884635" cy="486966"/>
            </a:xfrm>
            <a:custGeom>
              <a:avLst/>
              <a:gdLst>
                <a:gd name="T0" fmla="*/ 645 w 743"/>
                <a:gd name="T1" fmla="*/ 24 h 409"/>
                <a:gd name="T2" fmla="*/ 28 w 743"/>
                <a:gd name="T3" fmla="*/ 0 h 409"/>
                <a:gd name="T4" fmla="*/ 0 w 743"/>
                <a:gd name="T5" fmla="*/ 383 h 409"/>
                <a:gd name="T6" fmla="*/ 743 w 743"/>
                <a:gd name="T7" fmla="*/ 409 h 409"/>
                <a:gd name="T8" fmla="*/ 741 w 743"/>
                <a:gd name="T9" fmla="*/ 136 h 409"/>
                <a:gd name="T10" fmla="*/ 721 w 743"/>
                <a:gd name="T11" fmla="*/ 130 h 409"/>
                <a:gd name="T12" fmla="*/ 713 w 743"/>
                <a:gd name="T13" fmla="*/ 108 h 409"/>
                <a:gd name="T14" fmla="*/ 693 w 743"/>
                <a:gd name="T15" fmla="*/ 86 h 409"/>
                <a:gd name="T16" fmla="*/ 707 w 743"/>
                <a:gd name="T17" fmla="*/ 62 h 409"/>
                <a:gd name="T18" fmla="*/ 717 w 743"/>
                <a:gd name="T19" fmla="*/ 62 h 409"/>
                <a:gd name="T20" fmla="*/ 709 w 743"/>
                <a:gd name="T21" fmla="*/ 42 h 409"/>
                <a:gd name="T22" fmla="*/ 693 w 743"/>
                <a:gd name="T23" fmla="*/ 46 h 409"/>
                <a:gd name="T24" fmla="*/ 663 w 743"/>
                <a:gd name="T25" fmla="*/ 24 h 409"/>
                <a:gd name="T26" fmla="*/ 645 w 743"/>
                <a:gd name="T27" fmla="*/ 24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3" h="409">
                  <a:moveTo>
                    <a:pt x="645" y="24"/>
                  </a:moveTo>
                  <a:lnTo>
                    <a:pt x="28" y="0"/>
                  </a:lnTo>
                  <a:lnTo>
                    <a:pt x="0" y="383"/>
                  </a:lnTo>
                  <a:lnTo>
                    <a:pt x="743" y="409"/>
                  </a:lnTo>
                  <a:lnTo>
                    <a:pt x="741" y="136"/>
                  </a:lnTo>
                  <a:lnTo>
                    <a:pt x="721" y="130"/>
                  </a:lnTo>
                  <a:lnTo>
                    <a:pt x="713" y="108"/>
                  </a:lnTo>
                  <a:lnTo>
                    <a:pt x="693" y="86"/>
                  </a:lnTo>
                  <a:lnTo>
                    <a:pt x="707" y="62"/>
                  </a:lnTo>
                  <a:lnTo>
                    <a:pt x="717" y="62"/>
                  </a:lnTo>
                  <a:lnTo>
                    <a:pt x="709" y="42"/>
                  </a:lnTo>
                  <a:lnTo>
                    <a:pt x="693" y="46"/>
                  </a:lnTo>
                  <a:lnTo>
                    <a:pt x="663" y="24"/>
                  </a:lnTo>
                  <a:lnTo>
                    <a:pt x="645" y="24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8" name="Freeform 201"/>
            <p:cNvSpPr>
              <a:spLocks/>
            </p:cNvSpPr>
            <p:nvPr/>
          </p:nvSpPr>
          <p:spPr bwMode="auto">
            <a:xfrm>
              <a:off x="4533900" y="2027059"/>
              <a:ext cx="722710" cy="476250"/>
            </a:xfrm>
            <a:custGeom>
              <a:avLst/>
              <a:gdLst>
                <a:gd name="T0" fmla="*/ 499 w 607"/>
                <a:gd name="T1" fmla="*/ 0 h 400"/>
                <a:gd name="T2" fmla="*/ 551 w 607"/>
                <a:gd name="T3" fmla="*/ 106 h 400"/>
                <a:gd name="T4" fmla="*/ 557 w 607"/>
                <a:gd name="T5" fmla="*/ 130 h 400"/>
                <a:gd name="T6" fmla="*/ 581 w 607"/>
                <a:gd name="T7" fmla="*/ 156 h 400"/>
                <a:gd name="T8" fmla="*/ 607 w 607"/>
                <a:gd name="T9" fmla="*/ 188 h 400"/>
                <a:gd name="T10" fmla="*/ 593 w 607"/>
                <a:gd name="T11" fmla="*/ 220 h 400"/>
                <a:gd name="T12" fmla="*/ 559 w 607"/>
                <a:gd name="T13" fmla="*/ 258 h 400"/>
                <a:gd name="T14" fmla="*/ 521 w 607"/>
                <a:gd name="T15" fmla="*/ 288 h 400"/>
                <a:gd name="T16" fmla="*/ 537 w 607"/>
                <a:gd name="T17" fmla="*/ 322 h 400"/>
                <a:gd name="T18" fmla="*/ 521 w 607"/>
                <a:gd name="T19" fmla="*/ 360 h 400"/>
                <a:gd name="T20" fmla="*/ 499 w 607"/>
                <a:gd name="T21" fmla="*/ 394 h 400"/>
                <a:gd name="T22" fmla="*/ 463 w 607"/>
                <a:gd name="T23" fmla="*/ 370 h 400"/>
                <a:gd name="T24" fmla="*/ 77 w 607"/>
                <a:gd name="T25" fmla="*/ 368 h 400"/>
                <a:gd name="T26" fmla="*/ 73 w 607"/>
                <a:gd name="T27" fmla="*/ 340 h 400"/>
                <a:gd name="T28" fmla="*/ 71 w 607"/>
                <a:gd name="T29" fmla="*/ 302 h 400"/>
                <a:gd name="T30" fmla="*/ 69 w 607"/>
                <a:gd name="T31" fmla="*/ 286 h 400"/>
                <a:gd name="T32" fmla="*/ 65 w 607"/>
                <a:gd name="T33" fmla="*/ 266 h 400"/>
                <a:gd name="T34" fmla="*/ 57 w 607"/>
                <a:gd name="T35" fmla="*/ 254 h 400"/>
                <a:gd name="T36" fmla="*/ 47 w 607"/>
                <a:gd name="T37" fmla="*/ 238 h 400"/>
                <a:gd name="T38" fmla="*/ 43 w 607"/>
                <a:gd name="T39" fmla="*/ 210 h 400"/>
                <a:gd name="T40" fmla="*/ 35 w 607"/>
                <a:gd name="T41" fmla="*/ 192 h 400"/>
                <a:gd name="T42" fmla="*/ 27 w 607"/>
                <a:gd name="T43" fmla="*/ 174 h 400"/>
                <a:gd name="T44" fmla="*/ 21 w 607"/>
                <a:gd name="T45" fmla="*/ 150 h 400"/>
                <a:gd name="T46" fmla="*/ 14 w 607"/>
                <a:gd name="T47" fmla="*/ 132 h 400"/>
                <a:gd name="T48" fmla="*/ 10 w 607"/>
                <a:gd name="T49" fmla="*/ 118 h 400"/>
                <a:gd name="T50" fmla="*/ 0 w 607"/>
                <a:gd name="T51" fmla="*/ 102 h 400"/>
                <a:gd name="T52" fmla="*/ 14 w 607"/>
                <a:gd name="T53" fmla="*/ 70 h 400"/>
                <a:gd name="T54" fmla="*/ 16 w 607"/>
                <a:gd name="T55" fmla="*/ 42 h 400"/>
                <a:gd name="T56" fmla="*/ 10 w 607"/>
                <a:gd name="T57" fmla="*/ 38 h 400"/>
                <a:gd name="T58" fmla="*/ 12 w 607"/>
                <a:gd name="T59" fmla="*/ 32 h 400"/>
                <a:gd name="T60" fmla="*/ 6 w 607"/>
                <a:gd name="T61" fmla="*/ 14 h 400"/>
                <a:gd name="T62" fmla="*/ 47 w 607"/>
                <a:gd name="T63" fmla="*/ 6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7" h="400">
                  <a:moveTo>
                    <a:pt x="47" y="6"/>
                  </a:moveTo>
                  <a:lnTo>
                    <a:pt x="499" y="0"/>
                  </a:lnTo>
                  <a:lnTo>
                    <a:pt x="519" y="96"/>
                  </a:lnTo>
                  <a:lnTo>
                    <a:pt x="551" y="106"/>
                  </a:lnTo>
                  <a:lnTo>
                    <a:pt x="557" y="118"/>
                  </a:lnTo>
                  <a:lnTo>
                    <a:pt x="557" y="130"/>
                  </a:lnTo>
                  <a:lnTo>
                    <a:pt x="577" y="142"/>
                  </a:lnTo>
                  <a:lnTo>
                    <a:pt x="581" y="156"/>
                  </a:lnTo>
                  <a:lnTo>
                    <a:pt x="603" y="172"/>
                  </a:lnTo>
                  <a:lnTo>
                    <a:pt x="607" y="188"/>
                  </a:lnTo>
                  <a:lnTo>
                    <a:pt x="603" y="210"/>
                  </a:lnTo>
                  <a:lnTo>
                    <a:pt x="593" y="220"/>
                  </a:lnTo>
                  <a:lnTo>
                    <a:pt x="589" y="240"/>
                  </a:lnTo>
                  <a:lnTo>
                    <a:pt x="559" y="258"/>
                  </a:lnTo>
                  <a:lnTo>
                    <a:pt x="525" y="266"/>
                  </a:lnTo>
                  <a:lnTo>
                    <a:pt x="521" y="288"/>
                  </a:lnTo>
                  <a:lnTo>
                    <a:pt x="535" y="304"/>
                  </a:lnTo>
                  <a:lnTo>
                    <a:pt x="537" y="322"/>
                  </a:lnTo>
                  <a:lnTo>
                    <a:pt x="525" y="338"/>
                  </a:lnTo>
                  <a:lnTo>
                    <a:pt x="521" y="360"/>
                  </a:lnTo>
                  <a:lnTo>
                    <a:pt x="495" y="374"/>
                  </a:lnTo>
                  <a:lnTo>
                    <a:pt x="499" y="394"/>
                  </a:lnTo>
                  <a:lnTo>
                    <a:pt x="491" y="400"/>
                  </a:lnTo>
                  <a:lnTo>
                    <a:pt x="463" y="370"/>
                  </a:lnTo>
                  <a:lnTo>
                    <a:pt x="79" y="376"/>
                  </a:lnTo>
                  <a:lnTo>
                    <a:pt x="77" y="368"/>
                  </a:lnTo>
                  <a:lnTo>
                    <a:pt x="69" y="360"/>
                  </a:lnTo>
                  <a:lnTo>
                    <a:pt x="73" y="340"/>
                  </a:lnTo>
                  <a:lnTo>
                    <a:pt x="69" y="318"/>
                  </a:lnTo>
                  <a:lnTo>
                    <a:pt x="71" y="302"/>
                  </a:lnTo>
                  <a:lnTo>
                    <a:pt x="63" y="298"/>
                  </a:lnTo>
                  <a:lnTo>
                    <a:pt x="69" y="286"/>
                  </a:lnTo>
                  <a:lnTo>
                    <a:pt x="61" y="282"/>
                  </a:lnTo>
                  <a:lnTo>
                    <a:pt x="65" y="266"/>
                  </a:lnTo>
                  <a:lnTo>
                    <a:pt x="57" y="264"/>
                  </a:lnTo>
                  <a:lnTo>
                    <a:pt x="57" y="254"/>
                  </a:lnTo>
                  <a:lnTo>
                    <a:pt x="49" y="256"/>
                  </a:lnTo>
                  <a:lnTo>
                    <a:pt x="47" y="238"/>
                  </a:lnTo>
                  <a:lnTo>
                    <a:pt x="51" y="224"/>
                  </a:lnTo>
                  <a:lnTo>
                    <a:pt x="43" y="210"/>
                  </a:lnTo>
                  <a:lnTo>
                    <a:pt x="45" y="200"/>
                  </a:lnTo>
                  <a:lnTo>
                    <a:pt x="35" y="192"/>
                  </a:lnTo>
                  <a:lnTo>
                    <a:pt x="33" y="184"/>
                  </a:lnTo>
                  <a:lnTo>
                    <a:pt x="27" y="174"/>
                  </a:lnTo>
                  <a:lnTo>
                    <a:pt x="27" y="162"/>
                  </a:lnTo>
                  <a:lnTo>
                    <a:pt x="21" y="150"/>
                  </a:lnTo>
                  <a:lnTo>
                    <a:pt x="21" y="134"/>
                  </a:lnTo>
                  <a:lnTo>
                    <a:pt x="14" y="132"/>
                  </a:lnTo>
                  <a:lnTo>
                    <a:pt x="14" y="126"/>
                  </a:lnTo>
                  <a:lnTo>
                    <a:pt x="10" y="118"/>
                  </a:lnTo>
                  <a:lnTo>
                    <a:pt x="12" y="114"/>
                  </a:lnTo>
                  <a:lnTo>
                    <a:pt x="0" y="102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8" y="54"/>
                  </a:lnTo>
                  <a:lnTo>
                    <a:pt x="16" y="42"/>
                  </a:lnTo>
                  <a:lnTo>
                    <a:pt x="8" y="40"/>
                  </a:lnTo>
                  <a:lnTo>
                    <a:pt x="10" y="38"/>
                  </a:lnTo>
                  <a:lnTo>
                    <a:pt x="6" y="34"/>
                  </a:lnTo>
                  <a:lnTo>
                    <a:pt x="12" y="32"/>
                  </a:lnTo>
                  <a:lnTo>
                    <a:pt x="12" y="22"/>
                  </a:lnTo>
                  <a:lnTo>
                    <a:pt x="6" y="14"/>
                  </a:lnTo>
                  <a:lnTo>
                    <a:pt x="6" y="6"/>
                  </a:lnTo>
                  <a:lnTo>
                    <a:pt x="47" y="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9" name="Freeform 202"/>
            <p:cNvSpPr>
              <a:spLocks/>
            </p:cNvSpPr>
            <p:nvPr/>
          </p:nvSpPr>
          <p:spPr bwMode="auto">
            <a:xfrm>
              <a:off x="2914650" y="2895026"/>
              <a:ext cx="845344" cy="862013"/>
            </a:xfrm>
            <a:custGeom>
              <a:avLst/>
              <a:gdLst>
                <a:gd name="T0" fmla="*/ 270 w 710"/>
                <a:gd name="T1" fmla="*/ 686 h 724"/>
                <a:gd name="T2" fmla="*/ 266 w 710"/>
                <a:gd name="T3" fmla="*/ 664 h 724"/>
                <a:gd name="T4" fmla="*/ 650 w 710"/>
                <a:gd name="T5" fmla="*/ 704 h 724"/>
                <a:gd name="T6" fmla="*/ 698 w 710"/>
                <a:gd name="T7" fmla="*/ 134 h 724"/>
                <a:gd name="T8" fmla="*/ 704 w 710"/>
                <a:gd name="T9" fmla="*/ 134 h 724"/>
                <a:gd name="T10" fmla="*/ 710 w 710"/>
                <a:gd name="T11" fmla="*/ 70 h 724"/>
                <a:gd name="T12" fmla="*/ 600 w 710"/>
                <a:gd name="T13" fmla="*/ 60 h 724"/>
                <a:gd name="T14" fmla="*/ 106 w 710"/>
                <a:gd name="T15" fmla="*/ 0 h 724"/>
                <a:gd name="T16" fmla="*/ 0 w 710"/>
                <a:gd name="T17" fmla="*/ 712 h 724"/>
                <a:gd name="T18" fmla="*/ 86 w 710"/>
                <a:gd name="T19" fmla="*/ 724 h 724"/>
                <a:gd name="T20" fmla="*/ 94 w 710"/>
                <a:gd name="T21" fmla="*/ 664 h 724"/>
                <a:gd name="T22" fmla="*/ 270 w 710"/>
                <a:gd name="T23" fmla="*/ 686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0" h="724">
                  <a:moveTo>
                    <a:pt x="270" y="686"/>
                  </a:moveTo>
                  <a:lnTo>
                    <a:pt x="266" y="664"/>
                  </a:lnTo>
                  <a:lnTo>
                    <a:pt x="650" y="704"/>
                  </a:lnTo>
                  <a:lnTo>
                    <a:pt x="698" y="134"/>
                  </a:lnTo>
                  <a:lnTo>
                    <a:pt x="704" y="134"/>
                  </a:lnTo>
                  <a:lnTo>
                    <a:pt x="710" y="70"/>
                  </a:lnTo>
                  <a:lnTo>
                    <a:pt x="600" y="60"/>
                  </a:lnTo>
                  <a:lnTo>
                    <a:pt x="106" y="0"/>
                  </a:lnTo>
                  <a:lnTo>
                    <a:pt x="0" y="712"/>
                  </a:lnTo>
                  <a:lnTo>
                    <a:pt x="86" y="724"/>
                  </a:lnTo>
                  <a:lnTo>
                    <a:pt x="94" y="664"/>
                  </a:lnTo>
                  <a:lnTo>
                    <a:pt x="270" y="68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0" name="Freeform 203"/>
            <p:cNvSpPr>
              <a:spLocks/>
            </p:cNvSpPr>
            <p:nvPr/>
          </p:nvSpPr>
          <p:spPr bwMode="auto">
            <a:xfrm>
              <a:off x="1626395" y="3066476"/>
              <a:ext cx="28575" cy="21431"/>
            </a:xfrm>
            <a:custGeom>
              <a:avLst/>
              <a:gdLst>
                <a:gd name="T0" fmla="*/ 4 w 24"/>
                <a:gd name="T1" fmla="*/ 4 h 18"/>
                <a:gd name="T2" fmla="*/ 0 w 24"/>
                <a:gd name="T3" fmla="*/ 0 h 18"/>
                <a:gd name="T4" fmla="*/ 18 w 24"/>
                <a:gd name="T5" fmla="*/ 0 h 18"/>
                <a:gd name="T6" fmla="*/ 24 w 24"/>
                <a:gd name="T7" fmla="*/ 10 h 18"/>
                <a:gd name="T8" fmla="*/ 24 w 24"/>
                <a:gd name="T9" fmla="*/ 16 h 18"/>
                <a:gd name="T10" fmla="*/ 20 w 24"/>
                <a:gd name="T11" fmla="*/ 18 h 18"/>
                <a:gd name="T12" fmla="*/ 12 w 24"/>
                <a:gd name="T13" fmla="*/ 16 h 18"/>
                <a:gd name="T14" fmla="*/ 4 w 24"/>
                <a:gd name="T15" fmla="*/ 4 h 18"/>
                <a:gd name="T16" fmla="*/ 12 w 24"/>
                <a:gd name="T17" fmla="*/ 16 h 18"/>
                <a:gd name="T18" fmla="*/ 4 w 24"/>
                <a:gd name="T19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18">
                  <a:moveTo>
                    <a:pt x="4" y="4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24" y="10"/>
                  </a:lnTo>
                  <a:lnTo>
                    <a:pt x="24" y="16"/>
                  </a:lnTo>
                  <a:lnTo>
                    <a:pt x="20" y="18"/>
                  </a:lnTo>
                  <a:lnTo>
                    <a:pt x="12" y="16"/>
                  </a:lnTo>
                  <a:lnTo>
                    <a:pt x="4" y="4"/>
                  </a:lnTo>
                  <a:lnTo>
                    <a:pt x="12" y="16"/>
                  </a:lnTo>
                  <a:lnTo>
                    <a:pt x="4" y="4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1" name="Freeform 204"/>
            <p:cNvSpPr>
              <a:spLocks/>
            </p:cNvSpPr>
            <p:nvPr/>
          </p:nvSpPr>
          <p:spPr bwMode="auto">
            <a:xfrm>
              <a:off x="1674019" y="3066476"/>
              <a:ext cx="38100" cy="26194"/>
            </a:xfrm>
            <a:custGeom>
              <a:avLst/>
              <a:gdLst>
                <a:gd name="T0" fmla="*/ 0 w 32"/>
                <a:gd name="T1" fmla="*/ 0 h 22"/>
                <a:gd name="T2" fmla="*/ 14 w 32"/>
                <a:gd name="T3" fmla="*/ 14 h 22"/>
                <a:gd name="T4" fmla="*/ 32 w 32"/>
                <a:gd name="T5" fmla="*/ 16 h 22"/>
                <a:gd name="T6" fmla="*/ 30 w 32"/>
                <a:gd name="T7" fmla="*/ 20 h 22"/>
                <a:gd name="T8" fmla="*/ 24 w 32"/>
                <a:gd name="T9" fmla="*/ 20 h 22"/>
                <a:gd name="T10" fmla="*/ 8 w 32"/>
                <a:gd name="T11" fmla="*/ 22 h 22"/>
                <a:gd name="T12" fmla="*/ 0 w 32"/>
                <a:gd name="T13" fmla="*/ 14 h 22"/>
                <a:gd name="T14" fmla="*/ 0 w 32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22">
                  <a:moveTo>
                    <a:pt x="0" y="0"/>
                  </a:moveTo>
                  <a:lnTo>
                    <a:pt x="14" y="14"/>
                  </a:lnTo>
                  <a:lnTo>
                    <a:pt x="32" y="16"/>
                  </a:lnTo>
                  <a:lnTo>
                    <a:pt x="30" y="20"/>
                  </a:lnTo>
                  <a:lnTo>
                    <a:pt x="24" y="20"/>
                  </a:lnTo>
                  <a:lnTo>
                    <a:pt x="8" y="22"/>
                  </a:lnTo>
                  <a:lnTo>
                    <a:pt x="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2" name="Freeform 205"/>
            <p:cNvSpPr>
              <a:spLocks/>
            </p:cNvSpPr>
            <p:nvPr/>
          </p:nvSpPr>
          <p:spPr bwMode="auto">
            <a:xfrm>
              <a:off x="1812131" y="3204588"/>
              <a:ext cx="19050" cy="26194"/>
            </a:xfrm>
            <a:custGeom>
              <a:avLst/>
              <a:gdLst>
                <a:gd name="T0" fmla="*/ 4 w 16"/>
                <a:gd name="T1" fmla="*/ 0 h 22"/>
                <a:gd name="T2" fmla="*/ 0 w 16"/>
                <a:gd name="T3" fmla="*/ 0 h 22"/>
                <a:gd name="T4" fmla="*/ 4 w 16"/>
                <a:gd name="T5" fmla="*/ 0 h 22"/>
                <a:gd name="T6" fmla="*/ 8 w 16"/>
                <a:gd name="T7" fmla="*/ 8 h 22"/>
                <a:gd name="T8" fmla="*/ 16 w 16"/>
                <a:gd name="T9" fmla="*/ 10 h 22"/>
                <a:gd name="T10" fmla="*/ 16 w 16"/>
                <a:gd name="T11" fmla="*/ 20 h 22"/>
                <a:gd name="T12" fmla="*/ 14 w 16"/>
                <a:gd name="T13" fmla="*/ 22 h 22"/>
                <a:gd name="T14" fmla="*/ 10 w 16"/>
                <a:gd name="T15" fmla="*/ 20 h 22"/>
                <a:gd name="T16" fmla="*/ 10 w 16"/>
                <a:gd name="T17" fmla="*/ 10 h 22"/>
                <a:gd name="T18" fmla="*/ 6 w 16"/>
                <a:gd name="T19" fmla="*/ 6 h 22"/>
                <a:gd name="T20" fmla="*/ 4 w 16"/>
                <a:gd name="T2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2">
                  <a:moveTo>
                    <a:pt x="4" y="0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8" y="8"/>
                  </a:lnTo>
                  <a:lnTo>
                    <a:pt x="16" y="10"/>
                  </a:lnTo>
                  <a:lnTo>
                    <a:pt x="16" y="20"/>
                  </a:lnTo>
                  <a:lnTo>
                    <a:pt x="14" y="22"/>
                  </a:lnTo>
                  <a:lnTo>
                    <a:pt x="10" y="20"/>
                  </a:lnTo>
                  <a:lnTo>
                    <a:pt x="10" y="10"/>
                  </a:lnTo>
                  <a:lnTo>
                    <a:pt x="6" y="6"/>
                  </a:lnTo>
                  <a:lnTo>
                    <a:pt x="4" y="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3" name="Freeform 206"/>
            <p:cNvSpPr>
              <a:spLocks/>
            </p:cNvSpPr>
            <p:nvPr/>
          </p:nvSpPr>
          <p:spPr bwMode="auto">
            <a:xfrm>
              <a:off x="1788320" y="3259357"/>
              <a:ext cx="26194" cy="42863"/>
            </a:xfrm>
            <a:custGeom>
              <a:avLst/>
              <a:gdLst>
                <a:gd name="T0" fmla="*/ 0 w 22"/>
                <a:gd name="T1" fmla="*/ 2 h 36"/>
                <a:gd name="T2" fmla="*/ 4 w 22"/>
                <a:gd name="T3" fmla="*/ 0 h 36"/>
                <a:gd name="T4" fmla="*/ 2 w 22"/>
                <a:gd name="T5" fmla="*/ 2 h 36"/>
                <a:gd name="T6" fmla="*/ 8 w 22"/>
                <a:gd name="T7" fmla="*/ 22 h 36"/>
                <a:gd name="T8" fmla="*/ 16 w 22"/>
                <a:gd name="T9" fmla="*/ 26 h 36"/>
                <a:gd name="T10" fmla="*/ 22 w 22"/>
                <a:gd name="T11" fmla="*/ 36 h 36"/>
                <a:gd name="T12" fmla="*/ 10 w 22"/>
                <a:gd name="T13" fmla="*/ 36 h 36"/>
                <a:gd name="T14" fmla="*/ 2 w 22"/>
                <a:gd name="T15" fmla="*/ 10 h 36"/>
                <a:gd name="T16" fmla="*/ 0 w 22"/>
                <a:gd name="T17" fmla="*/ 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36">
                  <a:moveTo>
                    <a:pt x="0" y="2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8" y="22"/>
                  </a:lnTo>
                  <a:lnTo>
                    <a:pt x="16" y="26"/>
                  </a:lnTo>
                  <a:lnTo>
                    <a:pt x="22" y="36"/>
                  </a:lnTo>
                  <a:lnTo>
                    <a:pt x="10" y="36"/>
                  </a:lnTo>
                  <a:lnTo>
                    <a:pt x="2" y="1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4" name="Freeform 207"/>
            <p:cNvSpPr>
              <a:spLocks/>
            </p:cNvSpPr>
            <p:nvPr/>
          </p:nvSpPr>
          <p:spPr bwMode="auto">
            <a:xfrm>
              <a:off x="1428750" y="1767504"/>
              <a:ext cx="933450" cy="1651397"/>
            </a:xfrm>
            <a:custGeom>
              <a:avLst/>
              <a:gdLst>
                <a:gd name="T0" fmla="*/ 344 w 784"/>
                <a:gd name="T1" fmla="*/ 478 h 1387"/>
                <a:gd name="T2" fmla="*/ 74 w 784"/>
                <a:gd name="T3" fmla="*/ 0 h 1387"/>
                <a:gd name="T4" fmla="*/ 40 w 784"/>
                <a:gd name="T5" fmla="*/ 148 h 1387"/>
                <a:gd name="T6" fmla="*/ 0 w 784"/>
                <a:gd name="T7" fmla="*/ 200 h 1387"/>
                <a:gd name="T8" fmla="*/ 28 w 784"/>
                <a:gd name="T9" fmla="*/ 294 h 1387"/>
                <a:gd name="T10" fmla="*/ 22 w 784"/>
                <a:gd name="T11" fmla="*/ 312 h 1387"/>
                <a:gd name="T12" fmla="*/ 46 w 784"/>
                <a:gd name="T13" fmla="*/ 480 h 1387"/>
                <a:gd name="T14" fmla="*/ 44 w 784"/>
                <a:gd name="T15" fmla="*/ 510 h 1387"/>
                <a:gd name="T16" fmla="*/ 56 w 784"/>
                <a:gd name="T17" fmla="*/ 532 h 1387"/>
                <a:gd name="T18" fmla="*/ 66 w 784"/>
                <a:gd name="T19" fmla="*/ 544 h 1387"/>
                <a:gd name="T20" fmla="*/ 80 w 784"/>
                <a:gd name="T21" fmla="*/ 544 h 1387"/>
                <a:gd name="T22" fmla="*/ 90 w 784"/>
                <a:gd name="T23" fmla="*/ 516 h 1387"/>
                <a:gd name="T24" fmla="*/ 134 w 784"/>
                <a:gd name="T25" fmla="*/ 538 h 1387"/>
                <a:gd name="T26" fmla="*/ 108 w 784"/>
                <a:gd name="T27" fmla="*/ 542 h 1387"/>
                <a:gd name="T28" fmla="*/ 96 w 784"/>
                <a:gd name="T29" fmla="*/ 562 h 1387"/>
                <a:gd name="T30" fmla="*/ 104 w 784"/>
                <a:gd name="T31" fmla="*/ 608 h 1387"/>
                <a:gd name="T32" fmla="*/ 86 w 784"/>
                <a:gd name="T33" fmla="*/ 566 h 1387"/>
                <a:gd name="T34" fmla="*/ 72 w 784"/>
                <a:gd name="T35" fmla="*/ 576 h 1387"/>
                <a:gd name="T36" fmla="*/ 80 w 784"/>
                <a:gd name="T37" fmla="*/ 668 h 1387"/>
                <a:gd name="T38" fmla="*/ 108 w 784"/>
                <a:gd name="T39" fmla="*/ 700 h 1387"/>
                <a:gd name="T40" fmla="*/ 88 w 784"/>
                <a:gd name="T41" fmla="*/ 726 h 1387"/>
                <a:gd name="T42" fmla="*/ 142 w 784"/>
                <a:gd name="T43" fmla="*/ 889 h 1387"/>
                <a:gd name="T44" fmla="*/ 148 w 784"/>
                <a:gd name="T45" fmla="*/ 917 h 1387"/>
                <a:gd name="T46" fmla="*/ 166 w 784"/>
                <a:gd name="T47" fmla="*/ 945 h 1387"/>
                <a:gd name="T48" fmla="*/ 158 w 784"/>
                <a:gd name="T49" fmla="*/ 961 h 1387"/>
                <a:gd name="T50" fmla="*/ 154 w 784"/>
                <a:gd name="T51" fmla="*/ 1013 h 1387"/>
                <a:gd name="T52" fmla="*/ 218 w 784"/>
                <a:gd name="T53" fmla="*/ 1053 h 1387"/>
                <a:gd name="T54" fmla="*/ 238 w 784"/>
                <a:gd name="T55" fmla="*/ 1055 h 1387"/>
                <a:gd name="T56" fmla="*/ 274 w 784"/>
                <a:gd name="T57" fmla="*/ 1095 h 1387"/>
                <a:gd name="T58" fmla="*/ 312 w 784"/>
                <a:gd name="T59" fmla="*/ 1131 h 1387"/>
                <a:gd name="T60" fmla="*/ 330 w 784"/>
                <a:gd name="T61" fmla="*/ 1123 h 1387"/>
                <a:gd name="T62" fmla="*/ 346 w 784"/>
                <a:gd name="T63" fmla="*/ 1167 h 1387"/>
                <a:gd name="T64" fmla="*/ 372 w 784"/>
                <a:gd name="T65" fmla="*/ 1179 h 1387"/>
                <a:gd name="T66" fmla="*/ 440 w 784"/>
                <a:gd name="T67" fmla="*/ 1289 h 1387"/>
                <a:gd name="T68" fmla="*/ 674 w 784"/>
                <a:gd name="T69" fmla="*/ 1387 h 1387"/>
                <a:gd name="T70" fmla="*/ 700 w 784"/>
                <a:gd name="T71" fmla="*/ 1383 h 1387"/>
                <a:gd name="T72" fmla="*/ 714 w 784"/>
                <a:gd name="T73" fmla="*/ 1353 h 1387"/>
                <a:gd name="T74" fmla="*/ 700 w 784"/>
                <a:gd name="T75" fmla="*/ 1319 h 1387"/>
                <a:gd name="T76" fmla="*/ 698 w 784"/>
                <a:gd name="T77" fmla="*/ 1295 h 1387"/>
                <a:gd name="T78" fmla="*/ 724 w 784"/>
                <a:gd name="T79" fmla="*/ 1279 h 1387"/>
                <a:gd name="T80" fmla="*/ 732 w 784"/>
                <a:gd name="T81" fmla="*/ 1259 h 1387"/>
                <a:gd name="T82" fmla="*/ 746 w 784"/>
                <a:gd name="T83" fmla="*/ 1223 h 1387"/>
                <a:gd name="T84" fmla="*/ 784 w 784"/>
                <a:gd name="T85" fmla="*/ 1199 h 1387"/>
                <a:gd name="T86" fmla="*/ 764 w 784"/>
                <a:gd name="T87" fmla="*/ 1161 h 1387"/>
                <a:gd name="T88" fmla="*/ 750 w 784"/>
                <a:gd name="T89" fmla="*/ 1099 h 1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84" h="1387">
                  <a:moveTo>
                    <a:pt x="674" y="985"/>
                  </a:moveTo>
                  <a:lnTo>
                    <a:pt x="344" y="478"/>
                  </a:lnTo>
                  <a:lnTo>
                    <a:pt x="444" y="108"/>
                  </a:lnTo>
                  <a:lnTo>
                    <a:pt x="74" y="0"/>
                  </a:lnTo>
                  <a:lnTo>
                    <a:pt x="68" y="78"/>
                  </a:lnTo>
                  <a:lnTo>
                    <a:pt x="40" y="148"/>
                  </a:lnTo>
                  <a:lnTo>
                    <a:pt x="6" y="176"/>
                  </a:lnTo>
                  <a:lnTo>
                    <a:pt x="0" y="200"/>
                  </a:lnTo>
                  <a:lnTo>
                    <a:pt x="8" y="214"/>
                  </a:lnTo>
                  <a:lnTo>
                    <a:pt x="28" y="294"/>
                  </a:lnTo>
                  <a:lnTo>
                    <a:pt x="28" y="304"/>
                  </a:lnTo>
                  <a:lnTo>
                    <a:pt x="22" y="312"/>
                  </a:lnTo>
                  <a:lnTo>
                    <a:pt x="10" y="400"/>
                  </a:lnTo>
                  <a:lnTo>
                    <a:pt x="46" y="480"/>
                  </a:lnTo>
                  <a:lnTo>
                    <a:pt x="48" y="496"/>
                  </a:lnTo>
                  <a:lnTo>
                    <a:pt x="44" y="510"/>
                  </a:lnTo>
                  <a:lnTo>
                    <a:pt x="46" y="518"/>
                  </a:lnTo>
                  <a:lnTo>
                    <a:pt x="56" y="532"/>
                  </a:lnTo>
                  <a:lnTo>
                    <a:pt x="66" y="538"/>
                  </a:lnTo>
                  <a:lnTo>
                    <a:pt x="66" y="544"/>
                  </a:lnTo>
                  <a:lnTo>
                    <a:pt x="72" y="548"/>
                  </a:lnTo>
                  <a:lnTo>
                    <a:pt x="80" y="544"/>
                  </a:lnTo>
                  <a:lnTo>
                    <a:pt x="82" y="540"/>
                  </a:lnTo>
                  <a:lnTo>
                    <a:pt x="90" y="516"/>
                  </a:lnTo>
                  <a:lnTo>
                    <a:pt x="114" y="524"/>
                  </a:lnTo>
                  <a:lnTo>
                    <a:pt x="134" y="538"/>
                  </a:lnTo>
                  <a:lnTo>
                    <a:pt x="120" y="542"/>
                  </a:lnTo>
                  <a:lnTo>
                    <a:pt x="108" y="542"/>
                  </a:lnTo>
                  <a:lnTo>
                    <a:pt x="98" y="550"/>
                  </a:lnTo>
                  <a:lnTo>
                    <a:pt x="96" y="562"/>
                  </a:lnTo>
                  <a:lnTo>
                    <a:pt x="104" y="598"/>
                  </a:lnTo>
                  <a:lnTo>
                    <a:pt x="104" y="608"/>
                  </a:lnTo>
                  <a:lnTo>
                    <a:pt x="86" y="578"/>
                  </a:lnTo>
                  <a:lnTo>
                    <a:pt x="86" y="566"/>
                  </a:lnTo>
                  <a:lnTo>
                    <a:pt x="78" y="562"/>
                  </a:lnTo>
                  <a:lnTo>
                    <a:pt x="72" y="576"/>
                  </a:lnTo>
                  <a:lnTo>
                    <a:pt x="70" y="646"/>
                  </a:lnTo>
                  <a:lnTo>
                    <a:pt x="80" y="668"/>
                  </a:lnTo>
                  <a:lnTo>
                    <a:pt x="102" y="680"/>
                  </a:lnTo>
                  <a:lnTo>
                    <a:pt x="108" y="700"/>
                  </a:lnTo>
                  <a:lnTo>
                    <a:pt x="102" y="720"/>
                  </a:lnTo>
                  <a:lnTo>
                    <a:pt x="88" y="726"/>
                  </a:lnTo>
                  <a:lnTo>
                    <a:pt x="82" y="750"/>
                  </a:lnTo>
                  <a:lnTo>
                    <a:pt x="142" y="889"/>
                  </a:lnTo>
                  <a:lnTo>
                    <a:pt x="152" y="897"/>
                  </a:lnTo>
                  <a:lnTo>
                    <a:pt x="148" y="917"/>
                  </a:lnTo>
                  <a:lnTo>
                    <a:pt x="160" y="929"/>
                  </a:lnTo>
                  <a:lnTo>
                    <a:pt x="166" y="945"/>
                  </a:lnTo>
                  <a:lnTo>
                    <a:pt x="166" y="949"/>
                  </a:lnTo>
                  <a:lnTo>
                    <a:pt x="158" y="961"/>
                  </a:lnTo>
                  <a:lnTo>
                    <a:pt x="152" y="1005"/>
                  </a:lnTo>
                  <a:lnTo>
                    <a:pt x="154" y="1013"/>
                  </a:lnTo>
                  <a:lnTo>
                    <a:pt x="198" y="1035"/>
                  </a:lnTo>
                  <a:lnTo>
                    <a:pt x="218" y="1053"/>
                  </a:lnTo>
                  <a:lnTo>
                    <a:pt x="228" y="1051"/>
                  </a:lnTo>
                  <a:lnTo>
                    <a:pt x="238" y="1055"/>
                  </a:lnTo>
                  <a:lnTo>
                    <a:pt x="268" y="1081"/>
                  </a:lnTo>
                  <a:lnTo>
                    <a:pt x="274" y="1095"/>
                  </a:lnTo>
                  <a:lnTo>
                    <a:pt x="308" y="1123"/>
                  </a:lnTo>
                  <a:lnTo>
                    <a:pt x="312" y="1131"/>
                  </a:lnTo>
                  <a:lnTo>
                    <a:pt x="322" y="1121"/>
                  </a:lnTo>
                  <a:lnTo>
                    <a:pt x="330" y="1123"/>
                  </a:lnTo>
                  <a:lnTo>
                    <a:pt x="348" y="1147"/>
                  </a:lnTo>
                  <a:lnTo>
                    <a:pt x="346" y="1167"/>
                  </a:lnTo>
                  <a:lnTo>
                    <a:pt x="348" y="1171"/>
                  </a:lnTo>
                  <a:lnTo>
                    <a:pt x="372" y="1179"/>
                  </a:lnTo>
                  <a:lnTo>
                    <a:pt x="434" y="1269"/>
                  </a:lnTo>
                  <a:lnTo>
                    <a:pt x="440" y="1289"/>
                  </a:lnTo>
                  <a:lnTo>
                    <a:pt x="436" y="1355"/>
                  </a:lnTo>
                  <a:lnTo>
                    <a:pt x="674" y="1387"/>
                  </a:lnTo>
                  <a:lnTo>
                    <a:pt x="686" y="1377"/>
                  </a:lnTo>
                  <a:lnTo>
                    <a:pt x="700" y="1383"/>
                  </a:lnTo>
                  <a:lnTo>
                    <a:pt x="712" y="1367"/>
                  </a:lnTo>
                  <a:lnTo>
                    <a:pt x="714" y="1353"/>
                  </a:lnTo>
                  <a:lnTo>
                    <a:pt x="694" y="1335"/>
                  </a:lnTo>
                  <a:lnTo>
                    <a:pt x="700" y="1319"/>
                  </a:lnTo>
                  <a:lnTo>
                    <a:pt x="696" y="1307"/>
                  </a:lnTo>
                  <a:lnTo>
                    <a:pt x="698" y="1295"/>
                  </a:lnTo>
                  <a:lnTo>
                    <a:pt x="708" y="1295"/>
                  </a:lnTo>
                  <a:lnTo>
                    <a:pt x="724" y="1279"/>
                  </a:lnTo>
                  <a:lnTo>
                    <a:pt x="726" y="1263"/>
                  </a:lnTo>
                  <a:lnTo>
                    <a:pt x="732" y="1259"/>
                  </a:lnTo>
                  <a:lnTo>
                    <a:pt x="734" y="1229"/>
                  </a:lnTo>
                  <a:lnTo>
                    <a:pt x="746" y="1223"/>
                  </a:lnTo>
                  <a:lnTo>
                    <a:pt x="752" y="1213"/>
                  </a:lnTo>
                  <a:lnTo>
                    <a:pt x="784" y="1199"/>
                  </a:lnTo>
                  <a:lnTo>
                    <a:pt x="776" y="1173"/>
                  </a:lnTo>
                  <a:lnTo>
                    <a:pt x="764" y="1161"/>
                  </a:lnTo>
                  <a:lnTo>
                    <a:pt x="748" y="1113"/>
                  </a:lnTo>
                  <a:lnTo>
                    <a:pt x="750" y="1099"/>
                  </a:lnTo>
                  <a:lnTo>
                    <a:pt x="674" y="985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" name="Freeform 209"/>
            <p:cNvSpPr>
              <a:spLocks/>
            </p:cNvSpPr>
            <p:nvPr/>
          </p:nvSpPr>
          <p:spPr bwMode="auto">
            <a:xfrm>
              <a:off x="6325791" y="2036585"/>
              <a:ext cx="692944" cy="445294"/>
            </a:xfrm>
            <a:custGeom>
              <a:avLst/>
              <a:gdLst>
                <a:gd name="T0" fmla="*/ 582 w 582"/>
                <a:gd name="T1" fmla="*/ 216 h 374"/>
                <a:gd name="T2" fmla="*/ 554 w 582"/>
                <a:gd name="T3" fmla="*/ 192 h 374"/>
                <a:gd name="T4" fmla="*/ 546 w 582"/>
                <a:gd name="T5" fmla="*/ 190 h 374"/>
                <a:gd name="T6" fmla="*/ 540 w 582"/>
                <a:gd name="T7" fmla="*/ 176 h 374"/>
                <a:gd name="T8" fmla="*/ 530 w 582"/>
                <a:gd name="T9" fmla="*/ 176 h 374"/>
                <a:gd name="T10" fmla="*/ 524 w 582"/>
                <a:gd name="T11" fmla="*/ 160 h 374"/>
                <a:gd name="T12" fmla="*/ 526 w 582"/>
                <a:gd name="T13" fmla="*/ 162 h 374"/>
                <a:gd name="T14" fmla="*/ 524 w 582"/>
                <a:gd name="T15" fmla="*/ 152 h 374"/>
                <a:gd name="T16" fmla="*/ 530 w 582"/>
                <a:gd name="T17" fmla="*/ 146 h 374"/>
                <a:gd name="T18" fmla="*/ 532 w 582"/>
                <a:gd name="T19" fmla="*/ 134 h 374"/>
                <a:gd name="T20" fmla="*/ 524 w 582"/>
                <a:gd name="T21" fmla="*/ 122 h 374"/>
                <a:gd name="T22" fmla="*/ 534 w 582"/>
                <a:gd name="T23" fmla="*/ 108 h 374"/>
                <a:gd name="T24" fmla="*/ 544 w 582"/>
                <a:gd name="T25" fmla="*/ 80 h 374"/>
                <a:gd name="T26" fmla="*/ 552 w 582"/>
                <a:gd name="T27" fmla="*/ 66 h 374"/>
                <a:gd name="T28" fmla="*/ 548 w 582"/>
                <a:gd name="T29" fmla="*/ 60 h 374"/>
                <a:gd name="T30" fmla="*/ 524 w 582"/>
                <a:gd name="T31" fmla="*/ 56 h 374"/>
                <a:gd name="T32" fmla="*/ 512 w 582"/>
                <a:gd name="T33" fmla="*/ 42 h 374"/>
                <a:gd name="T34" fmla="*/ 510 w 582"/>
                <a:gd name="T35" fmla="*/ 22 h 374"/>
                <a:gd name="T36" fmla="*/ 504 w 582"/>
                <a:gd name="T37" fmla="*/ 20 h 374"/>
                <a:gd name="T38" fmla="*/ 506 w 582"/>
                <a:gd name="T39" fmla="*/ 16 h 374"/>
                <a:gd name="T40" fmla="*/ 488 w 582"/>
                <a:gd name="T41" fmla="*/ 14 h 374"/>
                <a:gd name="T42" fmla="*/ 484 w 582"/>
                <a:gd name="T43" fmla="*/ 4 h 374"/>
                <a:gd name="T44" fmla="*/ 472 w 582"/>
                <a:gd name="T45" fmla="*/ 0 h 374"/>
                <a:gd name="T46" fmla="*/ 70 w 582"/>
                <a:gd name="T47" fmla="*/ 76 h 374"/>
                <a:gd name="T48" fmla="*/ 64 w 582"/>
                <a:gd name="T49" fmla="*/ 42 h 374"/>
                <a:gd name="T50" fmla="*/ 50 w 582"/>
                <a:gd name="T51" fmla="*/ 54 h 374"/>
                <a:gd name="T52" fmla="*/ 32 w 582"/>
                <a:gd name="T53" fmla="*/ 60 h 374"/>
                <a:gd name="T54" fmla="*/ 0 w 582"/>
                <a:gd name="T55" fmla="*/ 90 h 374"/>
                <a:gd name="T56" fmla="*/ 44 w 582"/>
                <a:gd name="T57" fmla="*/ 374 h 374"/>
                <a:gd name="T58" fmla="*/ 144 w 582"/>
                <a:gd name="T59" fmla="*/ 358 h 374"/>
                <a:gd name="T60" fmla="*/ 494 w 582"/>
                <a:gd name="T61" fmla="*/ 292 h 374"/>
                <a:gd name="T62" fmla="*/ 504 w 582"/>
                <a:gd name="T63" fmla="*/ 274 h 374"/>
                <a:gd name="T64" fmla="*/ 516 w 582"/>
                <a:gd name="T65" fmla="*/ 272 h 374"/>
                <a:gd name="T66" fmla="*/ 530 w 582"/>
                <a:gd name="T67" fmla="*/ 276 h 374"/>
                <a:gd name="T68" fmla="*/ 534 w 582"/>
                <a:gd name="T69" fmla="*/ 270 h 374"/>
                <a:gd name="T70" fmla="*/ 552 w 582"/>
                <a:gd name="T71" fmla="*/ 260 h 374"/>
                <a:gd name="T72" fmla="*/ 554 w 582"/>
                <a:gd name="T73" fmla="*/ 256 h 374"/>
                <a:gd name="T74" fmla="*/ 552 w 582"/>
                <a:gd name="T75" fmla="*/ 252 h 374"/>
                <a:gd name="T76" fmla="*/ 582 w 582"/>
                <a:gd name="T77" fmla="*/ 216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2" h="374">
                  <a:moveTo>
                    <a:pt x="582" y="216"/>
                  </a:moveTo>
                  <a:lnTo>
                    <a:pt x="554" y="192"/>
                  </a:lnTo>
                  <a:lnTo>
                    <a:pt x="546" y="190"/>
                  </a:lnTo>
                  <a:lnTo>
                    <a:pt x="540" y="176"/>
                  </a:lnTo>
                  <a:lnTo>
                    <a:pt x="530" y="176"/>
                  </a:lnTo>
                  <a:lnTo>
                    <a:pt x="524" y="160"/>
                  </a:lnTo>
                  <a:lnTo>
                    <a:pt x="526" y="162"/>
                  </a:lnTo>
                  <a:lnTo>
                    <a:pt x="524" y="152"/>
                  </a:lnTo>
                  <a:lnTo>
                    <a:pt x="530" y="146"/>
                  </a:lnTo>
                  <a:lnTo>
                    <a:pt x="532" y="134"/>
                  </a:lnTo>
                  <a:lnTo>
                    <a:pt x="524" y="122"/>
                  </a:lnTo>
                  <a:lnTo>
                    <a:pt x="534" y="108"/>
                  </a:lnTo>
                  <a:lnTo>
                    <a:pt x="544" y="80"/>
                  </a:lnTo>
                  <a:lnTo>
                    <a:pt x="552" y="66"/>
                  </a:lnTo>
                  <a:lnTo>
                    <a:pt x="548" y="60"/>
                  </a:lnTo>
                  <a:lnTo>
                    <a:pt x="524" y="56"/>
                  </a:lnTo>
                  <a:lnTo>
                    <a:pt x="512" y="42"/>
                  </a:lnTo>
                  <a:lnTo>
                    <a:pt x="510" y="22"/>
                  </a:lnTo>
                  <a:lnTo>
                    <a:pt x="504" y="20"/>
                  </a:lnTo>
                  <a:lnTo>
                    <a:pt x="506" y="16"/>
                  </a:lnTo>
                  <a:lnTo>
                    <a:pt x="488" y="14"/>
                  </a:lnTo>
                  <a:lnTo>
                    <a:pt x="484" y="4"/>
                  </a:lnTo>
                  <a:lnTo>
                    <a:pt x="472" y="0"/>
                  </a:lnTo>
                  <a:lnTo>
                    <a:pt x="70" y="76"/>
                  </a:lnTo>
                  <a:lnTo>
                    <a:pt x="64" y="42"/>
                  </a:lnTo>
                  <a:lnTo>
                    <a:pt x="50" y="54"/>
                  </a:lnTo>
                  <a:lnTo>
                    <a:pt x="32" y="60"/>
                  </a:lnTo>
                  <a:lnTo>
                    <a:pt x="0" y="90"/>
                  </a:lnTo>
                  <a:lnTo>
                    <a:pt x="44" y="374"/>
                  </a:lnTo>
                  <a:lnTo>
                    <a:pt x="144" y="358"/>
                  </a:lnTo>
                  <a:lnTo>
                    <a:pt x="494" y="292"/>
                  </a:lnTo>
                  <a:lnTo>
                    <a:pt x="504" y="274"/>
                  </a:lnTo>
                  <a:lnTo>
                    <a:pt x="516" y="272"/>
                  </a:lnTo>
                  <a:lnTo>
                    <a:pt x="530" y="276"/>
                  </a:lnTo>
                  <a:lnTo>
                    <a:pt x="534" y="270"/>
                  </a:lnTo>
                  <a:lnTo>
                    <a:pt x="552" y="260"/>
                  </a:lnTo>
                  <a:lnTo>
                    <a:pt x="554" y="256"/>
                  </a:lnTo>
                  <a:lnTo>
                    <a:pt x="552" y="252"/>
                  </a:lnTo>
                  <a:lnTo>
                    <a:pt x="582" y="21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" name="Freeform 210"/>
            <p:cNvSpPr>
              <a:spLocks/>
            </p:cNvSpPr>
            <p:nvPr/>
          </p:nvSpPr>
          <p:spPr bwMode="auto">
            <a:xfrm>
              <a:off x="4835129" y="3614164"/>
              <a:ext cx="652463" cy="588169"/>
            </a:xfrm>
            <a:custGeom>
              <a:avLst/>
              <a:gdLst>
                <a:gd name="T0" fmla="*/ 428 w 548"/>
                <a:gd name="T1" fmla="*/ 324 h 494"/>
                <a:gd name="T2" fmla="*/ 400 w 548"/>
                <a:gd name="T3" fmla="*/ 356 h 494"/>
                <a:gd name="T4" fmla="*/ 436 w 548"/>
                <a:gd name="T5" fmla="*/ 366 h 494"/>
                <a:gd name="T6" fmla="*/ 458 w 548"/>
                <a:gd name="T7" fmla="*/ 352 h 494"/>
                <a:gd name="T8" fmla="*/ 470 w 548"/>
                <a:gd name="T9" fmla="*/ 376 h 494"/>
                <a:gd name="T10" fmla="*/ 490 w 548"/>
                <a:gd name="T11" fmla="*/ 366 h 494"/>
                <a:gd name="T12" fmla="*/ 516 w 548"/>
                <a:gd name="T13" fmla="*/ 356 h 494"/>
                <a:gd name="T14" fmla="*/ 518 w 548"/>
                <a:gd name="T15" fmla="*/ 388 h 494"/>
                <a:gd name="T16" fmla="*/ 488 w 548"/>
                <a:gd name="T17" fmla="*/ 422 h 494"/>
                <a:gd name="T18" fmla="*/ 504 w 548"/>
                <a:gd name="T19" fmla="*/ 446 h 494"/>
                <a:gd name="T20" fmla="*/ 548 w 548"/>
                <a:gd name="T21" fmla="*/ 472 h 494"/>
                <a:gd name="T22" fmla="*/ 522 w 548"/>
                <a:gd name="T23" fmla="*/ 494 h 494"/>
                <a:gd name="T24" fmla="*/ 476 w 548"/>
                <a:gd name="T25" fmla="*/ 456 h 494"/>
                <a:gd name="T26" fmla="*/ 450 w 548"/>
                <a:gd name="T27" fmla="*/ 444 h 494"/>
                <a:gd name="T28" fmla="*/ 448 w 548"/>
                <a:gd name="T29" fmla="*/ 456 h 494"/>
                <a:gd name="T30" fmla="*/ 434 w 548"/>
                <a:gd name="T31" fmla="*/ 480 h 494"/>
                <a:gd name="T32" fmla="*/ 392 w 548"/>
                <a:gd name="T33" fmla="*/ 482 h 494"/>
                <a:gd name="T34" fmla="*/ 366 w 548"/>
                <a:gd name="T35" fmla="*/ 484 h 494"/>
                <a:gd name="T36" fmla="*/ 342 w 548"/>
                <a:gd name="T37" fmla="*/ 474 h 494"/>
                <a:gd name="T38" fmla="*/ 296 w 548"/>
                <a:gd name="T39" fmla="*/ 440 h 494"/>
                <a:gd name="T40" fmla="*/ 270 w 548"/>
                <a:gd name="T41" fmla="*/ 424 h 494"/>
                <a:gd name="T42" fmla="*/ 218 w 548"/>
                <a:gd name="T43" fmla="*/ 410 h 494"/>
                <a:gd name="T44" fmla="*/ 214 w 548"/>
                <a:gd name="T45" fmla="*/ 428 h 494"/>
                <a:gd name="T46" fmla="*/ 86 w 548"/>
                <a:gd name="T47" fmla="*/ 416 h 494"/>
                <a:gd name="T48" fmla="*/ 14 w 548"/>
                <a:gd name="T49" fmla="*/ 412 h 494"/>
                <a:gd name="T50" fmla="*/ 32 w 548"/>
                <a:gd name="T51" fmla="*/ 390 h 494"/>
                <a:gd name="T52" fmla="*/ 42 w 548"/>
                <a:gd name="T53" fmla="*/ 370 h 494"/>
                <a:gd name="T54" fmla="*/ 34 w 548"/>
                <a:gd name="T55" fmla="*/ 344 h 494"/>
                <a:gd name="T56" fmla="*/ 36 w 548"/>
                <a:gd name="T57" fmla="*/ 318 h 494"/>
                <a:gd name="T58" fmla="*/ 54 w 548"/>
                <a:gd name="T59" fmla="*/ 276 h 494"/>
                <a:gd name="T60" fmla="*/ 54 w 548"/>
                <a:gd name="T61" fmla="*/ 262 h 494"/>
                <a:gd name="T62" fmla="*/ 54 w 548"/>
                <a:gd name="T63" fmla="*/ 250 h 494"/>
                <a:gd name="T64" fmla="*/ 54 w 548"/>
                <a:gd name="T65" fmla="*/ 238 h 494"/>
                <a:gd name="T66" fmla="*/ 50 w 548"/>
                <a:gd name="T67" fmla="*/ 236 h 494"/>
                <a:gd name="T68" fmla="*/ 44 w 548"/>
                <a:gd name="T69" fmla="*/ 214 h 494"/>
                <a:gd name="T70" fmla="*/ 36 w 548"/>
                <a:gd name="T71" fmla="*/ 198 h 494"/>
                <a:gd name="T72" fmla="*/ 26 w 548"/>
                <a:gd name="T73" fmla="*/ 174 h 494"/>
                <a:gd name="T74" fmla="*/ 0 w 548"/>
                <a:gd name="T75" fmla="*/ 136 h 494"/>
                <a:gd name="T76" fmla="*/ 306 w 548"/>
                <a:gd name="T77" fmla="*/ 0 h 494"/>
                <a:gd name="T78" fmla="*/ 314 w 548"/>
                <a:gd name="T79" fmla="*/ 10 h 494"/>
                <a:gd name="T80" fmla="*/ 316 w 548"/>
                <a:gd name="T81" fmla="*/ 40 h 494"/>
                <a:gd name="T82" fmla="*/ 314 w 548"/>
                <a:gd name="T83" fmla="*/ 58 h 494"/>
                <a:gd name="T84" fmla="*/ 336 w 548"/>
                <a:gd name="T85" fmla="*/ 86 h 494"/>
                <a:gd name="T86" fmla="*/ 316 w 548"/>
                <a:gd name="T87" fmla="*/ 110 h 494"/>
                <a:gd name="T88" fmla="*/ 290 w 548"/>
                <a:gd name="T89" fmla="*/ 152 h 494"/>
                <a:gd name="T90" fmla="*/ 274 w 548"/>
                <a:gd name="T91" fmla="*/ 192 h 494"/>
                <a:gd name="T92" fmla="*/ 274 w 548"/>
                <a:gd name="T93" fmla="*/ 218 h 494"/>
                <a:gd name="T94" fmla="*/ 270 w 548"/>
                <a:gd name="T95" fmla="*/ 248 h 494"/>
                <a:gd name="T96" fmla="*/ 262 w 548"/>
                <a:gd name="T97" fmla="*/ 256 h 494"/>
                <a:gd name="T98" fmla="*/ 460 w 548"/>
                <a:gd name="T99" fmla="*/ 290 h 494"/>
                <a:gd name="T100" fmla="*/ 480 w 548"/>
                <a:gd name="T101" fmla="*/ 314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8" h="494">
                  <a:moveTo>
                    <a:pt x="490" y="340"/>
                  </a:moveTo>
                  <a:lnTo>
                    <a:pt x="428" y="324"/>
                  </a:lnTo>
                  <a:lnTo>
                    <a:pt x="404" y="334"/>
                  </a:lnTo>
                  <a:lnTo>
                    <a:pt x="400" y="356"/>
                  </a:lnTo>
                  <a:lnTo>
                    <a:pt x="416" y="368"/>
                  </a:lnTo>
                  <a:lnTo>
                    <a:pt x="436" y="366"/>
                  </a:lnTo>
                  <a:lnTo>
                    <a:pt x="450" y="354"/>
                  </a:lnTo>
                  <a:lnTo>
                    <a:pt x="458" y="352"/>
                  </a:lnTo>
                  <a:lnTo>
                    <a:pt x="464" y="354"/>
                  </a:lnTo>
                  <a:lnTo>
                    <a:pt x="470" y="376"/>
                  </a:lnTo>
                  <a:lnTo>
                    <a:pt x="478" y="378"/>
                  </a:lnTo>
                  <a:lnTo>
                    <a:pt x="490" y="366"/>
                  </a:lnTo>
                  <a:lnTo>
                    <a:pt x="512" y="354"/>
                  </a:lnTo>
                  <a:lnTo>
                    <a:pt x="516" y="356"/>
                  </a:lnTo>
                  <a:lnTo>
                    <a:pt x="522" y="360"/>
                  </a:lnTo>
                  <a:lnTo>
                    <a:pt x="518" y="388"/>
                  </a:lnTo>
                  <a:lnTo>
                    <a:pt x="496" y="406"/>
                  </a:lnTo>
                  <a:lnTo>
                    <a:pt x="488" y="422"/>
                  </a:lnTo>
                  <a:lnTo>
                    <a:pt x="488" y="428"/>
                  </a:lnTo>
                  <a:lnTo>
                    <a:pt x="504" y="446"/>
                  </a:lnTo>
                  <a:lnTo>
                    <a:pt x="538" y="460"/>
                  </a:lnTo>
                  <a:lnTo>
                    <a:pt x="548" y="472"/>
                  </a:lnTo>
                  <a:lnTo>
                    <a:pt x="544" y="482"/>
                  </a:lnTo>
                  <a:lnTo>
                    <a:pt x="522" y="494"/>
                  </a:lnTo>
                  <a:lnTo>
                    <a:pt x="500" y="466"/>
                  </a:lnTo>
                  <a:lnTo>
                    <a:pt x="476" y="456"/>
                  </a:lnTo>
                  <a:lnTo>
                    <a:pt x="460" y="444"/>
                  </a:lnTo>
                  <a:lnTo>
                    <a:pt x="450" y="444"/>
                  </a:lnTo>
                  <a:lnTo>
                    <a:pt x="448" y="448"/>
                  </a:lnTo>
                  <a:lnTo>
                    <a:pt x="448" y="456"/>
                  </a:lnTo>
                  <a:lnTo>
                    <a:pt x="446" y="462"/>
                  </a:lnTo>
                  <a:lnTo>
                    <a:pt x="434" y="480"/>
                  </a:lnTo>
                  <a:lnTo>
                    <a:pt x="402" y="476"/>
                  </a:lnTo>
                  <a:lnTo>
                    <a:pt x="392" y="482"/>
                  </a:lnTo>
                  <a:lnTo>
                    <a:pt x="382" y="474"/>
                  </a:lnTo>
                  <a:lnTo>
                    <a:pt x="366" y="484"/>
                  </a:lnTo>
                  <a:lnTo>
                    <a:pt x="348" y="480"/>
                  </a:lnTo>
                  <a:lnTo>
                    <a:pt x="342" y="474"/>
                  </a:lnTo>
                  <a:lnTo>
                    <a:pt x="320" y="474"/>
                  </a:lnTo>
                  <a:lnTo>
                    <a:pt x="296" y="440"/>
                  </a:lnTo>
                  <a:lnTo>
                    <a:pt x="284" y="438"/>
                  </a:lnTo>
                  <a:lnTo>
                    <a:pt x="270" y="424"/>
                  </a:lnTo>
                  <a:lnTo>
                    <a:pt x="238" y="410"/>
                  </a:lnTo>
                  <a:lnTo>
                    <a:pt x="218" y="410"/>
                  </a:lnTo>
                  <a:lnTo>
                    <a:pt x="212" y="416"/>
                  </a:lnTo>
                  <a:lnTo>
                    <a:pt x="214" y="428"/>
                  </a:lnTo>
                  <a:lnTo>
                    <a:pt x="200" y="440"/>
                  </a:lnTo>
                  <a:lnTo>
                    <a:pt x="86" y="416"/>
                  </a:lnTo>
                  <a:lnTo>
                    <a:pt x="26" y="426"/>
                  </a:lnTo>
                  <a:lnTo>
                    <a:pt x="14" y="412"/>
                  </a:lnTo>
                  <a:lnTo>
                    <a:pt x="26" y="402"/>
                  </a:lnTo>
                  <a:lnTo>
                    <a:pt x="32" y="390"/>
                  </a:lnTo>
                  <a:lnTo>
                    <a:pt x="38" y="380"/>
                  </a:lnTo>
                  <a:lnTo>
                    <a:pt x="42" y="370"/>
                  </a:lnTo>
                  <a:lnTo>
                    <a:pt x="40" y="352"/>
                  </a:lnTo>
                  <a:lnTo>
                    <a:pt x="34" y="344"/>
                  </a:lnTo>
                  <a:lnTo>
                    <a:pt x="40" y="332"/>
                  </a:lnTo>
                  <a:lnTo>
                    <a:pt x="36" y="318"/>
                  </a:lnTo>
                  <a:lnTo>
                    <a:pt x="54" y="284"/>
                  </a:lnTo>
                  <a:lnTo>
                    <a:pt x="54" y="276"/>
                  </a:lnTo>
                  <a:lnTo>
                    <a:pt x="58" y="270"/>
                  </a:lnTo>
                  <a:lnTo>
                    <a:pt x="54" y="262"/>
                  </a:lnTo>
                  <a:lnTo>
                    <a:pt x="60" y="258"/>
                  </a:lnTo>
                  <a:lnTo>
                    <a:pt x="54" y="250"/>
                  </a:lnTo>
                  <a:lnTo>
                    <a:pt x="56" y="238"/>
                  </a:lnTo>
                  <a:lnTo>
                    <a:pt x="54" y="238"/>
                  </a:lnTo>
                  <a:lnTo>
                    <a:pt x="54" y="238"/>
                  </a:lnTo>
                  <a:lnTo>
                    <a:pt x="50" y="236"/>
                  </a:lnTo>
                  <a:lnTo>
                    <a:pt x="42" y="222"/>
                  </a:lnTo>
                  <a:lnTo>
                    <a:pt x="44" y="214"/>
                  </a:lnTo>
                  <a:lnTo>
                    <a:pt x="34" y="202"/>
                  </a:lnTo>
                  <a:lnTo>
                    <a:pt x="36" y="198"/>
                  </a:lnTo>
                  <a:lnTo>
                    <a:pt x="24" y="188"/>
                  </a:lnTo>
                  <a:lnTo>
                    <a:pt x="26" y="174"/>
                  </a:lnTo>
                  <a:lnTo>
                    <a:pt x="24" y="162"/>
                  </a:lnTo>
                  <a:lnTo>
                    <a:pt x="0" y="136"/>
                  </a:lnTo>
                  <a:lnTo>
                    <a:pt x="0" y="8"/>
                  </a:lnTo>
                  <a:lnTo>
                    <a:pt x="306" y="0"/>
                  </a:lnTo>
                  <a:lnTo>
                    <a:pt x="304" y="6"/>
                  </a:lnTo>
                  <a:lnTo>
                    <a:pt x="314" y="10"/>
                  </a:lnTo>
                  <a:lnTo>
                    <a:pt x="306" y="32"/>
                  </a:lnTo>
                  <a:lnTo>
                    <a:pt x="316" y="40"/>
                  </a:lnTo>
                  <a:lnTo>
                    <a:pt x="306" y="46"/>
                  </a:lnTo>
                  <a:lnTo>
                    <a:pt x="314" y="58"/>
                  </a:lnTo>
                  <a:lnTo>
                    <a:pt x="314" y="70"/>
                  </a:lnTo>
                  <a:lnTo>
                    <a:pt x="336" y="86"/>
                  </a:lnTo>
                  <a:lnTo>
                    <a:pt x="324" y="110"/>
                  </a:lnTo>
                  <a:lnTo>
                    <a:pt x="316" y="110"/>
                  </a:lnTo>
                  <a:lnTo>
                    <a:pt x="318" y="126"/>
                  </a:lnTo>
                  <a:lnTo>
                    <a:pt x="290" y="152"/>
                  </a:lnTo>
                  <a:lnTo>
                    <a:pt x="284" y="182"/>
                  </a:lnTo>
                  <a:lnTo>
                    <a:pt x="274" y="192"/>
                  </a:lnTo>
                  <a:lnTo>
                    <a:pt x="278" y="206"/>
                  </a:lnTo>
                  <a:lnTo>
                    <a:pt x="274" y="218"/>
                  </a:lnTo>
                  <a:lnTo>
                    <a:pt x="260" y="224"/>
                  </a:lnTo>
                  <a:lnTo>
                    <a:pt x="270" y="248"/>
                  </a:lnTo>
                  <a:lnTo>
                    <a:pt x="262" y="258"/>
                  </a:lnTo>
                  <a:lnTo>
                    <a:pt x="262" y="256"/>
                  </a:lnTo>
                  <a:lnTo>
                    <a:pt x="470" y="248"/>
                  </a:lnTo>
                  <a:lnTo>
                    <a:pt x="460" y="290"/>
                  </a:lnTo>
                  <a:lnTo>
                    <a:pt x="466" y="302"/>
                  </a:lnTo>
                  <a:lnTo>
                    <a:pt x="480" y="314"/>
                  </a:lnTo>
                  <a:lnTo>
                    <a:pt x="490" y="34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" name="Freeform 211"/>
            <p:cNvSpPr>
              <a:spLocks/>
            </p:cNvSpPr>
            <p:nvPr/>
          </p:nvSpPr>
          <p:spPr bwMode="auto">
            <a:xfrm>
              <a:off x="7009211" y="1505566"/>
              <a:ext cx="200025" cy="371475"/>
            </a:xfrm>
            <a:custGeom>
              <a:avLst/>
              <a:gdLst>
                <a:gd name="T0" fmla="*/ 144 w 168"/>
                <a:gd name="T1" fmla="*/ 296 h 312"/>
                <a:gd name="T2" fmla="*/ 132 w 168"/>
                <a:gd name="T3" fmla="*/ 282 h 312"/>
                <a:gd name="T4" fmla="*/ 136 w 168"/>
                <a:gd name="T5" fmla="*/ 262 h 312"/>
                <a:gd name="T6" fmla="*/ 126 w 168"/>
                <a:gd name="T7" fmla="*/ 194 h 312"/>
                <a:gd name="T8" fmla="*/ 140 w 168"/>
                <a:gd name="T9" fmla="*/ 136 h 312"/>
                <a:gd name="T10" fmla="*/ 136 w 168"/>
                <a:gd name="T11" fmla="*/ 92 h 312"/>
                <a:gd name="T12" fmla="*/ 150 w 168"/>
                <a:gd name="T13" fmla="*/ 84 h 312"/>
                <a:gd name="T14" fmla="*/ 168 w 168"/>
                <a:gd name="T15" fmla="*/ 56 h 312"/>
                <a:gd name="T16" fmla="*/ 168 w 168"/>
                <a:gd name="T17" fmla="*/ 46 h 312"/>
                <a:gd name="T18" fmla="*/ 156 w 168"/>
                <a:gd name="T19" fmla="*/ 28 h 312"/>
                <a:gd name="T20" fmla="*/ 162 w 168"/>
                <a:gd name="T21" fmla="*/ 8 h 312"/>
                <a:gd name="T22" fmla="*/ 158 w 168"/>
                <a:gd name="T23" fmla="*/ 0 h 312"/>
                <a:gd name="T24" fmla="*/ 0 w 168"/>
                <a:gd name="T25" fmla="*/ 38 h 312"/>
                <a:gd name="T26" fmla="*/ 4 w 168"/>
                <a:gd name="T27" fmla="*/ 46 h 312"/>
                <a:gd name="T28" fmla="*/ 2 w 168"/>
                <a:gd name="T29" fmla="*/ 54 h 312"/>
                <a:gd name="T30" fmla="*/ 6 w 168"/>
                <a:gd name="T31" fmla="*/ 62 h 312"/>
                <a:gd name="T32" fmla="*/ 8 w 168"/>
                <a:gd name="T33" fmla="*/ 82 h 312"/>
                <a:gd name="T34" fmla="*/ 20 w 168"/>
                <a:gd name="T35" fmla="*/ 102 h 312"/>
                <a:gd name="T36" fmla="*/ 18 w 168"/>
                <a:gd name="T37" fmla="*/ 112 h 312"/>
                <a:gd name="T38" fmla="*/ 24 w 168"/>
                <a:gd name="T39" fmla="*/ 126 h 312"/>
                <a:gd name="T40" fmla="*/ 20 w 168"/>
                <a:gd name="T41" fmla="*/ 134 h 312"/>
                <a:gd name="T42" fmla="*/ 18 w 168"/>
                <a:gd name="T43" fmla="*/ 154 h 312"/>
                <a:gd name="T44" fmla="*/ 34 w 168"/>
                <a:gd name="T45" fmla="*/ 190 h 312"/>
                <a:gd name="T46" fmla="*/ 32 w 168"/>
                <a:gd name="T47" fmla="*/ 204 h 312"/>
                <a:gd name="T48" fmla="*/ 34 w 168"/>
                <a:gd name="T49" fmla="*/ 212 h 312"/>
                <a:gd name="T50" fmla="*/ 42 w 168"/>
                <a:gd name="T51" fmla="*/ 204 h 312"/>
                <a:gd name="T52" fmla="*/ 50 w 168"/>
                <a:gd name="T53" fmla="*/ 212 h 312"/>
                <a:gd name="T54" fmla="*/ 68 w 168"/>
                <a:gd name="T55" fmla="*/ 302 h 312"/>
                <a:gd name="T56" fmla="*/ 72 w 168"/>
                <a:gd name="T57" fmla="*/ 312 h 312"/>
                <a:gd name="T58" fmla="*/ 144 w 168"/>
                <a:gd name="T59" fmla="*/ 296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8" h="312">
                  <a:moveTo>
                    <a:pt x="144" y="296"/>
                  </a:moveTo>
                  <a:lnTo>
                    <a:pt x="132" y="282"/>
                  </a:lnTo>
                  <a:lnTo>
                    <a:pt x="136" y="262"/>
                  </a:lnTo>
                  <a:lnTo>
                    <a:pt x="126" y="194"/>
                  </a:lnTo>
                  <a:lnTo>
                    <a:pt x="140" y="136"/>
                  </a:lnTo>
                  <a:lnTo>
                    <a:pt x="136" y="92"/>
                  </a:lnTo>
                  <a:lnTo>
                    <a:pt x="150" y="84"/>
                  </a:lnTo>
                  <a:lnTo>
                    <a:pt x="168" y="56"/>
                  </a:lnTo>
                  <a:lnTo>
                    <a:pt x="168" y="46"/>
                  </a:lnTo>
                  <a:lnTo>
                    <a:pt x="156" y="28"/>
                  </a:lnTo>
                  <a:lnTo>
                    <a:pt x="162" y="8"/>
                  </a:lnTo>
                  <a:lnTo>
                    <a:pt x="158" y="0"/>
                  </a:lnTo>
                  <a:lnTo>
                    <a:pt x="0" y="38"/>
                  </a:lnTo>
                  <a:lnTo>
                    <a:pt x="4" y="46"/>
                  </a:lnTo>
                  <a:lnTo>
                    <a:pt x="2" y="54"/>
                  </a:lnTo>
                  <a:lnTo>
                    <a:pt x="6" y="62"/>
                  </a:lnTo>
                  <a:lnTo>
                    <a:pt x="8" y="82"/>
                  </a:lnTo>
                  <a:lnTo>
                    <a:pt x="20" y="102"/>
                  </a:lnTo>
                  <a:lnTo>
                    <a:pt x="18" y="112"/>
                  </a:lnTo>
                  <a:lnTo>
                    <a:pt x="24" y="126"/>
                  </a:lnTo>
                  <a:lnTo>
                    <a:pt x="20" y="134"/>
                  </a:lnTo>
                  <a:lnTo>
                    <a:pt x="18" y="154"/>
                  </a:lnTo>
                  <a:lnTo>
                    <a:pt x="34" y="190"/>
                  </a:lnTo>
                  <a:lnTo>
                    <a:pt x="32" y="204"/>
                  </a:lnTo>
                  <a:lnTo>
                    <a:pt x="34" y="212"/>
                  </a:lnTo>
                  <a:lnTo>
                    <a:pt x="42" y="204"/>
                  </a:lnTo>
                  <a:lnTo>
                    <a:pt x="50" y="212"/>
                  </a:lnTo>
                  <a:lnTo>
                    <a:pt x="68" y="302"/>
                  </a:lnTo>
                  <a:lnTo>
                    <a:pt x="72" y="312"/>
                  </a:lnTo>
                  <a:lnTo>
                    <a:pt x="144" y="29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8" name="Freeform 212"/>
            <p:cNvSpPr>
              <a:spLocks/>
            </p:cNvSpPr>
            <p:nvPr/>
          </p:nvSpPr>
          <p:spPr bwMode="auto">
            <a:xfrm>
              <a:off x="6942536" y="2115166"/>
              <a:ext cx="169069" cy="357188"/>
            </a:xfrm>
            <a:custGeom>
              <a:avLst/>
              <a:gdLst>
                <a:gd name="T0" fmla="*/ 6 w 142"/>
                <a:gd name="T1" fmla="*/ 242 h 300"/>
                <a:gd name="T2" fmla="*/ 36 w 142"/>
                <a:gd name="T3" fmla="*/ 264 h 300"/>
                <a:gd name="T4" fmla="*/ 50 w 142"/>
                <a:gd name="T5" fmla="*/ 266 h 300"/>
                <a:gd name="T6" fmla="*/ 64 w 142"/>
                <a:gd name="T7" fmla="*/ 274 h 300"/>
                <a:gd name="T8" fmla="*/ 82 w 142"/>
                <a:gd name="T9" fmla="*/ 272 h 300"/>
                <a:gd name="T10" fmla="*/ 86 w 142"/>
                <a:gd name="T11" fmla="*/ 294 h 300"/>
                <a:gd name="T12" fmla="*/ 90 w 142"/>
                <a:gd name="T13" fmla="*/ 300 h 300"/>
                <a:gd name="T14" fmla="*/ 126 w 142"/>
                <a:gd name="T15" fmla="*/ 220 h 300"/>
                <a:gd name="T16" fmla="*/ 124 w 142"/>
                <a:gd name="T17" fmla="*/ 214 h 300"/>
                <a:gd name="T18" fmla="*/ 132 w 142"/>
                <a:gd name="T19" fmla="*/ 208 h 300"/>
                <a:gd name="T20" fmla="*/ 134 w 142"/>
                <a:gd name="T21" fmla="*/ 202 h 300"/>
                <a:gd name="T22" fmla="*/ 132 w 142"/>
                <a:gd name="T23" fmla="*/ 166 h 300"/>
                <a:gd name="T24" fmla="*/ 134 w 142"/>
                <a:gd name="T25" fmla="*/ 162 h 300"/>
                <a:gd name="T26" fmla="*/ 138 w 142"/>
                <a:gd name="T27" fmla="*/ 162 h 300"/>
                <a:gd name="T28" fmla="*/ 142 w 142"/>
                <a:gd name="T29" fmla="*/ 160 h 300"/>
                <a:gd name="T30" fmla="*/ 142 w 142"/>
                <a:gd name="T31" fmla="*/ 124 h 300"/>
                <a:gd name="T32" fmla="*/ 138 w 142"/>
                <a:gd name="T33" fmla="*/ 116 h 300"/>
                <a:gd name="T34" fmla="*/ 126 w 142"/>
                <a:gd name="T35" fmla="*/ 106 h 300"/>
                <a:gd name="T36" fmla="*/ 112 w 142"/>
                <a:gd name="T37" fmla="*/ 102 h 300"/>
                <a:gd name="T38" fmla="*/ 110 w 142"/>
                <a:gd name="T39" fmla="*/ 100 h 300"/>
                <a:gd name="T40" fmla="*/ 108 w 142"/>
                <a:gd name="T41" fmla="*/ 92 h 300"/>
                <a:gd name="T42" fmla="*/ 112 w 142"/>
                <a:gd name="T43" fmla="*/ 76 h 300"/>
                <a:gd name="T44" fmla="*/ 116 w 142"/>
                <a:gd name="T45" fmla="*/ 70 h 300"/>
                <a:gd name="T46" fmla="*/ 120 w 142"/>
                <a:gd name="T47" fmla="*/ 30 h 300"/>
                <a:gd name="T48" fmla="*/ 34 w 142"/>
                <a:gd name="T49" fmla="*/ 0 h 300"/>
                <a:gd name="T50" fmla="*/ 26 w 142"/>
                <a:gd name="T51" fmla="*/ 14 h 300"/>
                <a:gd name="T52" fmla="*/ 16 w 142"/>
                <a:gd name="T53" fmla="*/ 42 h 300"/>
                <a:gd name="T54" fmla="*/ 6 w 142"/>
                <a:gd name="T55" fmla="*/ 56 h 300"/>
                <a:gd name="T56" fmla="*/ 14 w 142"/>
                <a:gd name="T57" fmla="*/ 68 h 300"/>
                <a:gd name="T58" fmla="*/ 12 w 142"/>
                <a:gd name="T59" fmla="*/ 80 h 300"/>
                <a:gd name="T60" fmla="*/ 6 w 142"/>
                <a:gd name="T61" fmla="*/ 86 h 300"/>
                <a:gd name="T62" fmla="*/ 8 w 142"/>
                <a:gd name="T63" fmla="*/ 96 h 300"/>
                <a:gd name="T64" fmla="*/ 6 w 142"/>
                <a:gd name="T65" fmla="*/ 94 h 300"/>
                <a:gd name="T66" fmla="*/ 12 w 142"/>
                <a:gd name="T67" fmla="*/ 110 h 300"/>
                <a:gd name="T68" fmla="*/ 22 w 142"/>
                <a:gd name="T69" fmla="*/ 110 h 300"/>
                <a:gd name="T70" fmla="*/ 28 w 142"/>
                <a:gd name="T71" fmla="*/ 124 h 300"/>
                <a:gd name="T72" fmla="*/ 36 w 142"/>
                <a:gd name="T73" fmla="*/ 126 h 300"/>
                <a:gd name="T74" fmla="*/ 64 w 142"/>
                <a:gd name="T75" fmla="*/ 150 h 300"/>
                <a:gd name="T76" fmla="*/ 34 w 142"/>
                <a:gd name="T77" fmla="*/ 186 h 300"/>
                <a:gd name="T78" fmla="*/ 36 w 142"/>
                <a:gd name="T79" fmla="*/ 190 h 300"/>
                <a:gd name="T80" fmla="*/ 34 w 142"/>
                <a:gd name="T81" fmla="*/ 194 h 300"/>
                <a:gd name="T82" fmla="*/ 16 w 142"/>
                <a:gd name="T83" fmla="*/ 204 h 300"/>
                <a:gd name="T84" fmla="*/ 6 w 142"/>
                <a:gd name="T85" fmla="*/ 216 h 300"/>
                <a:gd name="T86" fmla="*/ 0 w 142"/>
                <a:gd name="T87" fmla="*/ 234 h 300"/>
                <a:gd name="T88" fmla="*/ 6 w 142"/>
                <a:gd name="T89" fmla="*/ 242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2" h="300">
                  <a:moveTo>
                    <a:pt x="6" y="242"/>
                  </a:moveTo>
                  <a:lnTo>
                    <a:pt x="36" y="264"/>
                  </a:lnTo>
                  <a:lnTo>
                    <a:pt x="50" y="266"/>
                  </a:lnTo>
                  <a:lnTo>
                    <a:pt x="64" y="274"/>
                  </a:lnTo>
                  <a:lnTo>
                    <a:pt x="82" y="272"/>
                  </a:lnTo>
                  <a:lnTo>
                    <a:pt x="86" y="294"/>
                  </a:lnTo>
                  <a:lnTo>
                    <a:pt x="90" y="300"/>
                  </a:lnTo>
                  <a:lnTo>
                    <a:pt x="126" y="220"/>
                  </a:lnTo>
                  <a:lnTo>
                    <a:pt x="124" y="214"/>
                  </a:lnTo>
                  <a:lnTo>
                    <a:pt x="132" y="208"/>
                  </a:lnTo>
                  <a:lnTo>
                    <a:pt x="134" y="202"/>
                  </a:lnTo>
                  <a:lnTo>
                    <a:pt x="132" y="166"/>
                  </a:lnTo>
                  <a:lnTo>
                    <a:pt x="134" y="162"/>
                  </a:lnTo>
                  <a:lnTo>
                    <a:pt x="138" y="162"/>
                  </a:lnTo>
                  <a:lnTo>
                    <a:pt x="142" y="160"/>
                  </a:lnTo>
                  <a:lnTo>
                    <a:pt x="142" y="124"/>
                  </a:lnTo>
                  <a:lnTo>
                    <a:pt x="138" y="116"/>
                  </a:lnTo>
                  <a:lnTo>
                    <a:pt x="126" y="106"/>
                  </a:lnTo>
                  <a:lnTo>
                    <a:pt x="112" y="102"/>
                  </a:lnTo>
                  <a:lnTo>
                    <a:pt x="110" y="100"/>
                  </a:lnTo>
                  <a:lnTo>
                    <a:pt x="108" y="92"/>
                  </a:lnTo>
                  <a:lnTo>
                    <a:pt x="112" y="76"/>
                  </a:lnTo>
                  <a:lnTo>
                    <a:pt x="116" y="70"/>
                  </a:lnTo>
                  <a:lnTo>
                    <a:pt x="120" y="30"/>
                  </a:lnTo>
                  <a:lnTo>
                    <a:pt x="34" y="0"/>
                  </a:lnTo>
                  <a:lnTo>
                    <a:pt x="26" y="14"/>
                  </a:lnTo>
                  <a:lnTo>
                    <a:pt x="16" y="42"/>
                  </a:lnTo>
                  <a:lnTo>
                    <a:pt x="6" y="56"/>
                  </a:lnTo>
                  <a:lnTo>
                    <a:pt x="14" y="68"/>
                  </a:lnTo>
                  <a:lnTo>
                    <a:pt x="12" y="80"/>
                  </a:lnTo>
                  <a:lnTo>
                    <a:pt x="6" y="86"/>
                  </a:lnTo>
                  <a:lnTo>
                    <a:pt x="8" y="96"/>
                  </a:lnTo>
                  <a:lnTo>
                    <a:pt x="6" y="94"/>
                  </a:lnTo>
                  <a:lnTo>
                    <a:pt x="12" y="110"/>
                  </a:lnTo>
                  <a:lnTo>
                    <a:pt x="22" y="110"/>
                  </a:lnTo>
                  <a:lnTo>
                    <a:pt x="28" y="124"/>
                  </a:lnTo>
                  <a:lnTo>
                    <a:pt x="36" y="126"/>
                  </a:lnTo>
                  <a:lnTo>
                    <a:pt x="64" y="150"/>
                  </a:lnTo>
                  <a:lnTo>
                    <a:pt x="34" y="186"/>
                  </a:lnTo>
                  <a:lnTo>
                    <a:pt x="36" y="190"/>
                  </a:lnTo>
                  <a:lnTo>
                    <a:pt x="34" y="194"/>
                  </a:lnTo>
                  <a:lnTo>
                    <a:pt x="16" y="204"/>
                  </a:lnTo>
                  <a:lnTo>
                    <a:pt x="6" y="216"/>
                  </a:lnTo>
                  <a:lnTo>
                    <a:pt x="0" y="234"/>
                  </a:lnTo>
                  <a:lnTo>
                    <a:pt x="6" y="242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9" name="Freeform 213"/>
            <p:cNvSpPr>
              <a:spLocks/>
            </p:cNvSpPr>
            <p:nvPr/>
          </p:nvSpPr>
          <p:spPr bwMode="auto">
            <a:xfrm>
              <a:off x="7278293" y="1931810"/>
              <a:ext cx="78581" cy="116681"/>
            </a:xfrm>
            <a:custGeom>
              <a:avLst/>
              <a:gdLst>
                <a:gd name="T0" fmla="*/ 18 w 66"/>
                <a:gd name="T1" fmla="*/ 98 h 98"/>
                <a:gd name="T2" fmla="*/ 52 w 66"/>
                <a:gd name="T3" fmla="*/ 78 h 98"/>
                <a:gd name="T4" fmla="*/ 60 w 66"/>
                <a:gd name="T5" fmla="*/ 68 h 98"/>
                <a:gd name="T6" fmla="*/ 62 w 66"/>
                <a:gd name="T7" fmla="*/ 40 h 98"/>
                <a:gd name="T8" fmla="*/ 66 w 66"/>
                <a:gd name="T9" fmla="*/ 36 h 98"/>
                <a:gd name="T10" fmla="*/ 48 w 66"/>
                <a:gd name="T11" fmla="*/ 28 h 98"/>
                <a:gd name="T12" fmla="*/ 46 w 66"/>
                <a:gd name="T13" fmla="*/ 16 h 98"/>
                <a:gd name="T14" fmla="*/ 42 w 66"/>
                <a:gd name="T15" fmla="*/ 16 h 98"/>
                <a:gd name="T16" fmla="*/ 38 w 66"/>
                <a:gd name="T17" fmla="*/ 0 h 98"/>
                <a:gd name="T18" fmla="*/ 0 w 66"/>
                <a:gd name="T19" fmla="*/ 10 h 98"/>
                <a:gd name="T20" fmla="*/ 18 w 66"/>
                <a:gd name="T21" fmla="*/ 86 h 98"/>
                <a:gd name="T22" fmla="*/ 16 w 66"/>
                <a:gd name="T23" fmla="*/ 88 h 98"/>
                <a:gd name="T24" fmla="*/ 18 w 66"/>
                <a:gd name="T25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98">
                  <a:moveTo>
                    <a:pt x="18" y="98"/>
                  </a:moveTo>
                  <a:lnTo>
                    <a:pt x="52" y="78"/>
                  </a:lnTo>
                  <a:lnTo>
                    <a:pt x="60" y="68"/>
                  </a:lnTo>
                  <a:lnTo>
                    <a:pt x="62" y="40"/>
                  </a:lnTo>
                  <a:lnTo>
                    <a:pt x="66" y="36"/>
                  </a:lnTo>
                  <a:lnTo>
                    <a:pt x="48" y="28"/>
                  </a:lnTo>
                  <a:lnTo>
                    <a:pt x="46" y="16"/>
                  </a:lnTo>
                  <a:lnTo>
                    <a:pt x="42" y="16"/>
                  </a:lnTo>
                  <a:lnTo>
                    <a:pt x="38" y="0"/>
                  </a:lnTo>
                  <a:lnTo>
                    <a:pt x="0" y="10"/>
                  </a:lnTo>
                  <a:lnTo>
                    <a:pt x="18" y="86"/>
                  </a:lnTo>
                  <a:lnTo>
                    <a:pt x="16" y="88"/>
                  </a:lnTo>
                  <a:lnTo>
                    <a:pt x="18" y="98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0" name="Freeform 214"/>
            <p:cNvSpPr>
              <a:spLocks/>
            </p:cNvSpPr>
            <p:nvPr/>
          </p:nvSpPr>
          <p:spPr bwMode="auto">
            <a:xfrm>
              <a:off x="6147199" y="3176013"/>
              <a:ext cx="607219" cy="461963"/>
            </a:xfrm>
            <a:custGeom>
              <a:avLst/>
              <a:gdLst>
                <a:gd name="T0" fmla="*/ 298 w 510"/>
                <a:gd name="T1" fmla="*/ 378 h 388"/>
                <a:gd name="T2" fmla="*/ 316 w 510"/>
                <a:gd name="T3" fmla="*/ 362 h 388"/>
                <a:gd name="T4" fmla="*/ 332 w 510"/>
                <a:gd name="T5" fmla="*/ 352 h 388"/>
                <a:gd name="T6" fmla="*/ 312 w 510"/>
                <a:gd name="T7" fmla="*/ 324 h 388"/>
                <a:gd name="T8" fmla="*/ 374 w 510"/>
                <a:gd name="T9" fmla="*/ 310 h 388"/>
                <a:gd name="T10" fmla="*/ 420 w 510"/>
                <a:gd name="T11" fmla="*/ 262 h 388"/>
                <a:gd name="T12" fmla="*/ 432 w 510"/>
                <a:gd name="T13" fmla="*/ 254 h 388"/>
                <a:gd name="T14" fmla="*/ 450 w 510"/>
                <a:gd name="T15" fmla="*/ 232 h 388"/>
                <a:gd name="T16" fmla="*/ 464 w 510"/>
                <a:gd name="T17" fmla="*/ 208 h 388"/>
                <a:gd name="T18" fmla="*/ 468 w 510"/>
                <a:gd name="T19" fmla="*/ 186 h 388"/>
                <a:gd name="T20" fmla="*/ 510 w 510"/>
                <a:gd name="T21" fmla="*/ 130 h 388"/>
                <a:gd name="T22" fmla="*/ 376 w 510"/>
                <a:gd name="T23" fmla="*/ 20 h 388"/>
                <a:gd name="T24" fmla="*/ 258 w 510"/>
                <a:gd name="T25" fmla="*/ 20 h 388"/>
                <a:gd name="T26" fmla="*/ 232 w 510"/>
                <a:gd name="T27" fmla="*/ 10 h 388"/>
                <a:gd name="T28" fmla="*/ 90 w 510"/>
                <a:gd name="T29" fmla="*/ 10 h 388"/>
                <a:gd name="T30" fmla="*/ 62 w 510"/>
                <a:gd name="T31" fmla="*/ 24 h 388"/>
                <a:gd name="T32" fmla="*/ 52 w 510"/>
                <a:gd name="T33" fmla="*/ 32 h 388"/>
                <a:gd name="T34" fmla="*/ 22 w 510"/>
                <a:gd name="T35" fmla="*/ 44 h 388"/>
                <a:gd name="T36" fmla="*/ 10 w 510"/>
                <a:gd name="T37" fmla="*/ 64 h 388"/>
                <a:gd name="T38" fmla="*/ 38 w 510"/>
                <a:gd name="T39" fmla="*/ 112 h 388"/>
                <a:gd name="T40" fmla="*/ 60 w 510"/>
                <a:gd name="T41" fmla="*/ 124 h 388"/>
                <a:gd name="T42" fmla="*/ 72 w 510"/>
                <a:gd name="T43" fmla="*/ 146 h 388"/>
                <a:gd name="T44" fmla="*/ 90 w 510"/>
                <a:gd name="T45" fmla="*/ 164 h 388"/>
                <a:gd name="T46" fmla="*/ 124 w 510"/>
                <a:gd name="T47" fmla="*/ 186 h 388"/>
                <a:gd name="T48" fmla="*/ 136 w 510"/>
                <a:gd name="T49" fmla="*/ 204 h 388"/>
                <a:gd name="T50" fmla="*/ 168 w 510"/>
                <a:gd name="T51" fmla="*/ 238 h 388"/>
                <a:gd name="T52" fmla="*/ 180 w 510"/>
                <a:gd name="T53" fmla="*/ 250 h 388"/>
                <a:gd name="T54" fmla="*/ 190 w 510"/>
                <a:gd name="T55" fmla="*/ 260 h 388"/>
                <a:gd name="T56" fmla="*/ 222 w 510"/>
                <a:gd name="T57" fmla="*/ 282 h 388"/>
                <a:gd name="T58" fmla="*/ 238 w 510"/>
                <a:gd name="T59" fmla="*/ 324 h 388"/>
                <a:gd name="T60" fmla="*/ 272 w 510"/>
                <a:gd name="T61" fmla="*/ 356 h 388"/>
                <a:gd name="T62" fmla="*/ 302 w 510"/>
                <a:gd name="T63" fmla="*/ 388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10" h="388">
                  <a:moveTo>
                    <a:pt x="302" y="388"/>
                  </a:moveTo>
                  <a:lnTo>
                    <a:pt x="298" y="378"/>
                  </a:lnTo>
                  <a:lnTo>
                    <a:pt x="300" y="374"/>
                  </a:lnTo>
                  <a:lnTo>
                    <a:pt x="316" y="362"/>
                  </a:lnTo>
                  <a:lnTo>
                    <a:pt x="326" y="360"/>
                  </a:lnTo>
                  <a:lnTo>
                    <a:pt x="332" y="352"/>
                  </a:lnTo>
                  <a:lnTo>
                    <a:pt x="314" y="328"/>
                  </a:lnTo>
                  <a:lnTo>
                    <a:pt x="312" y="324"/>
                  </a:lnTo>
                  <a:lnTo>
                    <a:pt x="314" y="320"/>
                  </a:lnTo>
                  <a:lnTo>
                    <a:pt x="374" y="310"/>
                  </a:lnTo>
                  <a:lnTo>
                    <a:pt x="382" y="306"/>
                  </a:lnTo>
                  <a:lnTo>
                    <a:pt x="420" y="262"/>
                  </a:lnTo>
                  <a:lnTo>
                    <a:pt x="424" y="262"/>
                  </a:lnTo>
                  <a:lnTo>
                    <a:pt x="432" y="254"/>
                  </a:lnTo>
                  <a:lnTo>
                    <a:pt x="434" y="240"/>
                  </a:lnTo>
                  <a:lnTo>
                    <a:pt x="450" y="232"/>
                  </a:lnTo>
                  <a:lnTo>
                    <a:pt x="460" y="220"/>
                  </a:lnTo>
                  <a:lnTo>
                    <a:pt x="464" y="208"/>
                  </a:lnTo>
                  <a:lnTo>
                    <a:pt x="458" y="198"/>
                  </a:lnTo>
                  <a:lnTo>
                    <a:pt x="468" y="186"/>
                  </a:lnTo>
                  <a:lnTo>
                    <a:pt x="486" y="146"/>
                  </a:lnTo>
                  <a:lnTo>
                    <a:pt x="510" y="130"/>
                  </a:lnTo>
                  <a:lnTo>
                    <a:pt x="510" y="120"/>
                  </a:lnTo>
                  <a:lnTo>
                    <a:pt x="376" y="20"/>
                  </a:lnTo>
                  <a:lnTo>
                    <a:pt x="260" y="38"/>
                  </a:lnTo>
                  <a:lnTo>
                    <a:pt x="258" y="20"/>
                  </a:lnTo>
                  <a:lnTo>
                    <a:pt x="240" y="2"/>
                  </a:lnTo>
                  <a:lnTo>
                    <a:pt x="232" y="10"/>
                  </a:lnTo>
                  <a:lnTo>
                    <a:pt x="228" y="0"/>
                  </a:lnTo>
                  <a:lnTo>
                    <a:pt x="90" y="10"/>
                  </a:lnTo>
                  <a:lnTo>
                    <a:pt x="86" y="16"/>
                  </a:lnTo>
                  <a:lnTo>
                    <a:pt x="62" y="24"/>
                  </a:lnTo>
                  <a:lnTo>
                    <a:pt x="56" y="34"/>
                  </a:lnTo>
                  <a:lnTo>
                    <a:pt x="52" y="32"/>
                  </a:lnTo>
                  <a:lnTo>
                    <a:pt x="20" y="44"/>
                  </a:lnTo>
                  <a:lnTo>
                    <a:pt x="22" y="44"/>
                  </a:lnTo>
                  <a:lnTo>
                    <a:pt x="20" y="56"/>
                  </a:lnTo>
                  <a:lnTo>
                    <a:pt x="10" y="64"/>
                  </a:lnTo>
                  <a:lnTo>
                    <a:pt x="0" y="86"/>
                  </a:lnTo>
                  <a:lnTo>
                    <a:pt x="38" y="112"/>
                  </a:lnTo>
                  <a:lnTo>
                    <a:pt x="52" y="110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72" y="146"/>
                  </a:lnTo>
                  <a:lnTo>
                    <a:pt x="90" y="164"/>
                  </a:lnTo>
                  <a:lnTo>
                    <a:pt x="90" y="164"/>
                  </a:lnTo>
                  <a:lnTo>
                    <a:pt x="94" y="172"/>
                  </a:lnTo>
                  <a:lnTo>
                    <a:pt x="124" y="186"/>
                  </a:lnTo>
                  <a:lnTo>
                    <a:pt x="136" y="204"/>
                  </a:lnTo>
                  <a:lnTo>
                    <a:pt x="136" y="204"/>
                  </a:lnTo>
                  <a:lnTo>
                    <a:pt x="168" y="224"/>
                  </a:lnTo>
                  <a:lnTo>
                    <a:pt x="168" y="238"/>
                  </a:lnTo>
                  <a:lnTo>
                    <a:pt x="180" y="242"/>
                  </a:lnTo>
                  <a:lnTo>
                    <a:pt x="180" y="250"/>
                  </a:lnTo>
                  <a:lnTo>
                    <a:pt x="190" y="254"/>
                  </a:lnTo>
                  <a:lnTo>
                    <a:pt x="190" y="260"/>
                  </a:lnTo>
                  <a:lnTo>
                    <a:pt x="222" y="276"/>
                  </a:lnTo>
                  <a:lnTo>
                    <a:pt x="222" y="282"/>
                  </a:lnTo>
                  <a:lnTo>
                    <a:pt x="236" y="306"/>
                  </a:lnTo>
                  <a:lnTo>
                    <a:pt x="238" y="324"/>
                  </a:lnTo>
                  <a:lnTo>
                    <a:pt x="256" y="332"/>
                  </a:lnTo>
                  <a:lnTo>
                    <a:pt x="272" y="356"/>
                  </a:lnTo>
                  <a:lnTo>
                    <a:pt x="274" y="380"/>
                  </a:lnTo>
                  <a:lnTo>
                    <a:pt x="302" y="388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1" name="Freeform 215"/>
            <p:cNvSpPr>
              <a:spLocks/>
            </p:cNvSpPr>
            <p:nvPr/>
          </p:nvSpPr>
          <p:spPr bwMode="auto">
            <a:xfrm>
              <a:off x="6966348" y="2622372"/>
              <a:ext cx="64294" cy="147638"/>
            </a:xfrm>
            <a:custGeom>
              <a:avLst/>
              <a:gdLst>
                <a:gd name="T0" fmla="*/ 10 w 54"/>
                <a:gd name="T1" fmla="*/ 18 h 124"/>
                <a:gd name="T2" fmla="*/ 18 w 54"/>
                <a:gd name="T3" fmla="*/ 20 h 124"/>
                <a:gd name="T4" fmla="*/ 18 w 54"/>
                <a:gd name="T5" fmla="*/ 30 h 124"/>
                <a:gd name="T6" fmla="*/ 10 w 54"/>
                <a:gd name="T7" fmla="*/ 34 h 124"/>
                <a:gd name="T8" fmla="*/ 0 w 54"/>
                <a:gd name="T9" fmla="*/ 88 h 124"/>
                <a:gd name="T10" fmla="*/ 10 w 54"/>
                <a:gd name="T11" fmla="*/ 120 h 124"/>
                <a:gd name="T12" fmla="*/ 16 w 54"/>
                <a:gd name="T13" fmla="*/ 124 h 124"/>
                <a:gd name="T14" fmla="*/ 24 w 54"/>
                <a:gd name="T15" fmla="*/ 122 h 124"/>
                <a:gd name="T16" fmla="*/ 28 w 54"/>
                <a:gd name="T17" fmla="*/ 116 h 124"/>
                <a:gd name="T18" fmla="*/ 54 w 54"/>
                <a:gd name="T19" fmla="*/ 0 h 124"/>
                <a:gd name="T20" fmla="*/ 10 w 54"/>
                <a:gd name="T21" fmla="*/ 1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124">
                  <a:moveTo>
                    <a:pt x="10" y="18"/>
                  </a:moveTo>
                  <a:lnTo>
                    <a:pt x="18" y="20"/>
                  </a:lnTo>
                  <a:lnTo>
                    <a:pt x="18" y="30"/>
                  </a:lnTo>
                  <a:lnTo>
                    <a:pt x="10" y="34"/>
                  </a:lnTo>
                  <a:lnTo>
                    <a:pt x="0" y="88"/>
                  </a:lnTo>
                  <a:lnTo>
                    <a:pt x="10" y="120"/>
                  </a:lnTo>
                  <a:lnTo>
                    <a:pt x="16" y="124"/>
                  </a:lnTo>
                  <a:lnTo>
                    <a:pt x="24" y="122"/>
                  </a:lnTo>
                  <a:lnTo>
                    <a:pt x="28" y="116"/>
                  </a:lnTo>
                  <a:lnTo>
                    <a:pt x="54" y="0"/>
                  </a:lnTo>
                  <a:lnTo>
                    <a:pt x="10" y="18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2" name="Freeform 216"/>
            <p:cNvSpPr>
              <a:spLocks/>
            </p:cNvSpPr>
            <p:nvPr/>
          </p:nvSpPr>
          <p:spPr bwMode="auto">
            <a:xfrm>
              <a:off x="1735933" y="810241"/>
              <a:ext cx="783431" cy="583406"/>
            </a:xfrm>
            <a:custGeom>
              <a:avLst/>
              <a:gdLst>
                <a:gd name="T0" fmla="*/ 658 w 658"/>
                <a:gd name="T1" fmla="*/ 124 h 490"/>
                <a:gd name="T2" fmla="*/ 588 w 658"/>
                <a:gd name="T3" fmla="*/ 470 h 490"/>
                <a:gd name="T4" fmla="*/ 584 w 658"/>
                <a:gd name="T5" fmla="*/ 490 h 490"/>
                <a:gd name="T6" fmla="*/ 394 w 658"/>
                <a:gd name="T7" fmla="*/ 450 h 490"/>
                <a:gd name="T8" fmla="*/ 342 w 658"/>
                <a:gd name="T9" fmla="*/ 448 h 490"/>
                <a:gd name="T10" fmla="*/ 290 w 658"/>
                <a:gd name="T11" fmla="*/ 450 h 490"/>
                <a:gd name="T12" fmla="*/ 258 w 658"/>
                <a:gd name="T13" fmla="*/ 440 h 490"/>
                <a:gd name="T14" fmla="*/ 196 w 658"/>
                <a:gd name="T15" fmla="*/ 428 h 490"/>
                <a:gd name="T16" fmla="*/ 136 w 658"/>
                <a:gd name="T17" fmla="*/ 420 h 490"/>
                <a:gd name="T18" fmla="*/ 72 w 658"/>
                <a:gd name="T19" fmla="*/ 398 h 490"/>
                <a:gd name="T20" fmla="*/ 76 w 658"/>
                <a:gd name="T21" fmla="*/ 346 h 490"/>
                <a:gd name="T22" fmla="*/ 8 w 658"/>
                <a:gd name="T23" fmla="*/ 292 h 490"/>
                <a:gd name="T24" fmla="*/ 8 w 658"/>
                <a:gd name="T25" fmla="*/ 248 h 490"/>
                <a:gd name="T26" fmla="*/ 8 w 658"/>
                <a:gd name="T27" fmla="*/ 272 h 490"/>
                <a:gd name="T28" fmla="*/ 16 w 658"/>
                <a:gd name="T29" fmla="*/ 270 h 490"/>
                <a:gd name="T30" fmla="*/ 24 w 658"/>
                <a:gd name="T31" fmla="*/ 236 h 490"/>
                <a:gd name="T32" fmla="*/ 14 w 658"/>
                <a:gd name="T33" fmla="*/ 232 h 490"/>
                <a:gd name="T34" fmla="*/ 16 w 658"/>
                <a:gd name="T35" fmla="*/ 218 h 490"/>
                <a:gd name="T36" fmla="*/ 28 w 658"/>
                <a:gd name="T37" fmla="*/ 202 h 490"/>
                <a:gd name="T38" fmla="*/ 16 w 658"/>
                <a:gd name="T39" fmla="*/ 200 h 490"/>
                <a:gd name="T40" fmla="*/ 18 w 658"/>
                <a:gd name="T41" fmla="*/ 98 h 490"/>
                <a:gd name="T42" fmla="*/ 8 w 658"/>
                <a:gd name="T43" fmla="*/ 54 h 490"/>
                <a:gd name="T44" fmla="*/ 22 w 658"/>
                <a:gd name="T45" fmla="*/ 28 h 490"/>
                <a:gd name="T46" fmla="*/ 82 w 658"/>
                <a:gd name="T47" fmla="*/ 64 h 490"/>
                <a:gd name="T48" fmla="*/ 152 w 658"/>
                <a:gd name="T49" fmla="*/ 98 h 490"/>
                <a:gd name="T50" fmla="*/ 172 w 658"/>
                <a:gd name="T51" fmla="*/ 114 h 490"/>
                <a:gd name="T52" fmla="*/ 162 w 658"/>
                <a:gd name="T53" fmla="*/ 130 h 490"/>
                <a:gd name="T54" fmla="*/ 124 w 658"/>
                <a:gd name="T55" fmla="*/ 162 h 490"/>
                <a:gd name="T56" fmla="*/ 132 w 658"/>
                <a:gd name="T57" fmla="*/ 184 h 490"/>
                <a:gd name="T58" fmla="*/ 132 w 658"/>
                <a:gd name="T59" fmla="*/ 172 h 490"/>
                <a:gd name="T60" fmla="*/ 156 w 658"/>
                <a:gd name="T61" fmla="*/ 158 h 490"/>
                <a:gd name="T62" fmla="*/ 184 w 658"/>
                <a:gd name="T63" fmla="*/ 138 h 490"/>
                <a:gd name="T64" fmla="*/ 188 w 658"/>
                <a:gd name="T65" fmla="*/ 152 h 490"/>
                <a:gd name="T66" fmla="*/ 206 w 658"/>
                <a:gd name="T67" fmla="*/ 112 h 490"/>
                <a:gd name="T68" fmla="*/ 192 w 658"/>
                <a:gd name="T69" fmla="*/ 64 h 490"/>
                <a:gd name="T70" fmla="*/ 200 w 658"/>
                <a:gd name="T71" fmla="*/ 62 h 490"/>
                <a:gd name="T72" fmla="*/ 214 w 658"/>
                <a:gd name="T73" fmla="*/ 40 h 490"/>
                <a:gd name="T74" fmla="*/ 222 w 658"/>
                <a:gd name="T75" fmla="*/ 44 h 490"/>
                <a:gd name="T76" fmla="*/ 222 w 658"/>
                <a:gd name="T77" fmla="*/ 36 h 490"/>
                <a:gd name="T78" fmla="*/ 200 w 658"/>
                <a:gd name="T79" fmla="*/ 26 h 490"/>
                <a:gd name="T80" fmla="*/ 194 w 658"/>
                <a:gd name="T81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58" h="490">
                  <a:moveTo>
                    <a:pt x="286" y="26"/>
                  </a:moveTo>
                  <a:lnTo>
                    <a:pt x="658" y="124"/>
                  </a:lnTo>
                  <a:lnTo>
                    <a:pt x="582" y="442"/>
                  </a:lnTo>
                  <a:lnTo>
                    <a:pt x="588" y="470"/>
                  </a:lnTo>
                  <a:lnTo>
                    <a:pt x="580" y="478"/>
                  </a:lnTo>
                  <a:lnTo>
                    <a:pt x="584" y="490"/>
                  </a:lnTo>
                  <a:lnTo>
                    <a:pt x="404" y="446"/>
                  </a:lnTo>
                  <a:lnTo>
                    <a:pt x="394" y="450"/>
                  </a:lnTo>
                  <a:lnTo>
                    <a:pt x="352" y="442"/>
                  </a:lnTo>
                  <a:lnTo>
                    <a:pt x="342" y="448"/>
                  </a:lnTo>
                  <a:lnTo>
                    <a:pt x="316" y="446"/>
                  </a:lnTo>
                  <a:lnTo>
                    <a:pt x="290" y="450"/>
                  </a:lnTo>
                  <a:lnTo>
                    <a:pt x="268" y="448"/>
                  </a:lnTo>
                  <a:lnTo>
                    <a:pt x="258" y="440"/>
                  </a:lnTo>
                  <a:lnTo>
                    <a:pt x="206" y="442"/>
                  </a:lnTo>
                  <a:lnTo>
                    <a:pt x="196" y="428"/>
                  </a:lnTo>
                  <a:lnTo>
                    <a:pt x="154" y="414"/>
                  </a:lnTo>
                  <a:lnTo>
                    <a:pt x="136" y="420"/>
                  </a:lnTo>
                  <a:lnTo>
                    <a:pt x="108" y="422"/>
                  </a:lnTo>
                  <a:lnTo>
                    <a:pt x="72" y="398"/>
                  </a:lnTo>
                  <a:lnTo>
                    <a:pt x="78" y="360"/>
                  </a:lnTo>
                  <a:lnTo>
                    <a:pt x="76" y="346"/>
                  </a:lnTo>
                  <a:lnTo>
                    <a:pt x="42" y="302"/>
                  </a:lnTo>
                  <a:lnTo>
                    <a:pt x="8" y="292"/>
                  </a:lnTo>
                  <a:lnTo>
                    <a:pt x="0" y="282"/>
                  </a:lnTo>
                  <a:lnTo>
                    <a:pt x="8" y="248"/>
                  </a:lnTo>
                  <a:lnTo>
                    <a:pt x="12" y="254"/>
                  </a:lnTo>
                  <a:lnTo>
                    <a:pt x="8" y="272"/>
                  </a:lnTo>
                  <a:lnTo>
                    <a:pt x="14" y="274"/>
                  </a:lnTo>
                  <a:lnTo>
                    <a:pt x="16" y="270"/>
                  </a:lnTo>
                  <a:lnTo>
                    <a:pt x="24" y="240"/>
                  </a:lnTo>
                  <a:lnTo>
                    <a:pt x="24" y="236"/>
                  </a:lnTo>
                  <a:lnTo>
                    <a:pt x="18" y="236"/>
                  </a:lnTo>
                  <a:lnTo>
                    <a:pt x="14" y="232"/>
                  </a:lnTo>
                  <a:lnTo>
                    <a:pt x="12" y="228"/>
                  </a:lnTo>
                  <a:lnTo>
                    <a:pt x="16" y="218"/>
                  </a:lnTo>
                  <a:lnTo>
                    <a:pt x="24" y="210"/>
                  </a:lnTo>
                  <a:lnTo>
                    <a:pt x="28" y="202"/>
                  </a:lnTo>
                  <a:lnTo>
                    <a:pt x="26" y="192"/>
                  </a:lnTo>
                  <a:lnTo>
                    <a:pt x="16" y="200"/>
                  </a:lnTo>
                  <a:lnTo>
                    <a:pt x="14" y="198"/>
                  </a:lnTo>
                  <a:lnTo>
                    <a:pt x="18" y="98"/>
                  </a:lnTo>
                  <a:lnTo>
                    <a:pt x="8" y="66"/>
                  </a:lnTo>
                  <a:lnTo>
                    <a:pt x="8" y="54"/>
                  </a:lnTo>
                  <a:lnTo>
                    <a:pt x="14" y="40"/>
                  </a:lnTo>
                  <a:lnTo>
                    <a:pt x="22" y="28"/>
                  </a:lnTo>
                  <a:lnTo>
                    <a:pt x="30" y="22"/>
                  </a:lnTo>
                  <a:lnTo>
                    <a:pt x="82" y="64"/>
                  </a:lnTo>
                  <a:lnTo>
                    <a:pt x="134" y="84"/>
                  </a:lnTo>
                  <a:lnTo>
                    <a:pt x="152" y="98"/>
                  </a:lnTo>
                  <a:lnTo>
                    <a:pt x="170" y="102"/>
                  </a:lnTo>
                  <a:lnTo>
                    <a:pt x="172" y="114"/>
                  </a:lnTo>
                  <a:lnTo>
                    <a:pt x="164" y="128"/>
                  </a:lnTo>
                  <a:lnTo>
                    <a:pt x="162" y="130"/>
                  </a:lnTo>
                  <a:lnTo>
                    <a:pt x="152" y="132"/>
                  </a:lnTo>
                  <a:lnTo>
                    <a:pt x="124" y="162"/>
                  </a:lnTo>
                  <a:lnTo>
                    <a:pt x="120" y="180"/>
                  </a:lnTo>
                  <a:lnTo>
                    <a:pt x="132" y="184"/>
                  </a:lnTo>
                  <a:lnTo>
                    <a:pt x="136" y="174"/>
                  </a:lnTo>
                  <a:lnTo>
                    <a:pt x="132" y="172"/>
                  </a:lnTo>
                  <a:lnTo>
                    <a:pt x="138" y="166"/>
                  </a:lnTo>
                  <a:lnTo>
                    <a:pt x="156" y="158"/>
                  </a:lnTo>
                  <a:lnTo>
                    <a:pt x="174" y="140"/>
                  </a:lnTo>
                  <a:lnTo>
                    <a:pt x="184" y="138"/>
                  </a:lnTo>
                  <a:lnTo>
                    <a:pt x="186" y="142"/>
                  </a:lnTo>
                  <a:lnTo>
                    <a:pt x="188" y="152"/>
                  </a:lnTo>
                  <a:lnTo>
                    <a:pt x="190" y="154"/>
                  </a:lnTo>
                  <a:lnTo>
                    <a:pt x="206" y="112"/>
                  </a:lnTo>
                  <a:lnTo>
                    <a:pt x="204" y="80"/>
                  </a:lnTo>
                  <a:lnTo>
                    <a:pt x="192" y="64"/>
                  </a:lnTo>
                  <a:lnTo>
                    <a:pt x="192" y="62"/>
                  </a:lnTo>
                  <a:lnTo>
                    <a:pt x="200" y="62"/>
                  </a:lnTo>
                  <a:lnTo>
                    <a:pt x="208" y="54"/>
                  </a:lnTo>
                  <a:lnTo>
                    <a:pt x="214" y="40"/>
                  </a:lnTo>
                  <a:lnTo>
                    <a:pt x="218" y="40"/>
                  </a:lnTo>
                  <a:lnTo>
                    <a:pt x="222" y="44"/>
                  </a:lnTo>
                  <a:lnTo>
                    <a:pt x="226" y="44"/>
                  </a:lnTo>
                  <a:lnTo>
                    <a:pt x="222" y="36"/>
                  </a:lnTo>
                  <a:lnTo>
                    <a:pt x="210" y="28"/>
                  </a:lnTo>
                  <a:lnTo>
                    <a:pt x="200" y="26"/>
                  </a:lnTo>
                  <a:lnTo>
                    <a:pt x="196" y="14"/>
                  </a:lnTo>
                  <a:lnTo>
                    <a:pt x="194" y="0"/>
                  </a:lnTo>
                  <a:lnTo>
                    <a:pt x="286" y="26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3" name="Freeform 218"/>
            <p:cNvSpPr>
              <a:spLocks/>
            </p:cNvSpPr>
            <p:nvPr/>
          </p:nvSpPr>
          <p:spPr bwMode="auto">
            <a:xfrm>
              <a:off x="4627961" y="2467591"/>
              <a:ext cx="790575" cy="689372"/>
            </a:xfrm>
            <a:custGeom>
              <a:avLst/>
              <a:gdLst>
                <a:gd name="T0" fmla="*/ 0 w 664"/>
                <a:gd name="T1" fmla="*/ 6 h 579"/>
                <a:gd name="T2" fmla="*/ 6 w 664"/>
                <a:gd name="T3" fmla="*/ 16 h 579"/>
                <a:gd name="T4" fmla="*/ 28 w 664"/>
                <a:gd name="T5" fmla="*/ 52 h 579"/>
                <a:gd name="T6" fmla="*/ 34 w 664"/>
                <a:gd name="T7" fmla="*/ 68 h 579"/>
                <a:gd name="T8" fmla="*/ 62 w 664"/>
                <a:gd name="T9" fmla="*/ 100 h 579"/>
                <a:gd name="T10" fmla="*/ 86 w 664"/>
                <a:gd name="T11" fmla="*/ 116 h 579"/>
                <a:gd name="T12" fmla="*/ 62 w 664"/>
                <a:gd name="T13" fmla="*/ 140 h 579"/>
                <a:gd name="T14" fmla="*/ 90 w 664"/>
                <a:gd name="T15" fmla="*/ 184 h 579"/>
                <a:gd name="T16" fmla="*/ 112 w 664"/>
                <a:gd name="T17" fmla="*/ 527 h 579"/>
                <a:gd name="T18" fmla="*/ 572 w 664"/>
                <a:gd name="T19" fmla="*/ 531 h 579"/>
                <a:gd name="T20" fmla="*/ 542 w 664"/>
                <a:gd name="T21" fmla="*/ 579 h 579"/>
                <a:gd name="T22" fmla="*/ 620 w 664"/>
                <a:gd name="T23" fmla="*/ 559 h 579"/>
                <a:gd name="T24" fmla="*/ 624 w 664"/>
                <a:gd name="T25" fmla="*/ 543 h 579"/>
                <a:gd name="T26" fmla="*/ 626 w 664"/>
                <a:gd name="T27" fmla="*/ 527 h 579"/>
                <a:gd name="T28" fmla="*/ 628 w 664"/>
                <a:gd name="T29" fmla="*/ 505 h 579"/>
                <a:gd name="T30" fmla="*/ 640 w 664"/>
                <a:gd name="T31" fmla="*/ 495 h 579"/>
                <a:gd name="T32" fmla="*/ 664 w 664"/>
                <a:gd name="T33" fmla="*/ 475 h 579"/>
                <a:gd name="T34" fmla="*/ 656 w 664"/>
                <a:gd name="T35" fmla="*/ 449 h 579"/>
                <a:gd name="T36" fmla="*/ 644 w 664"/>
                <a:gd name="T37" fmla="*/ 437 h 579"/>
                <a:gd name="T38" fmla="*/ 636 w 664"/>
                <a:gd name="T39" fmla="*/ 441 h 579"/>
                <a:gd name="T40" fmla="*/ 620 w 664"/>
                <a:gd name="T41" fmla="*/ 415 h 579"/>
                <a:gd name="T42" fmla="*/ 618 w 664"/>
                <a:gd name="T43" fmla="*/ 377 h 579"/>
                <a:gd name="T44" fmla="*/ 576 w 664"/>
                <a:gd name="T45" fmla="*/ 329 h 579"/>
                <a:gd name="T46" fmla="*/ 532 w 664"/>
                <a:gd name="T47" fmla="*/ 297 h 579"/>
                <a:gd name="T48" fmla="*/ 546 w 664"/>
                <a:gd name="T49" fmla="*/ 246 h 579"/>
                <a:gd name="T50" fmla="*/ 550 w 664"/>
                <a:gd name="T51" fmla="*/ 222 h 579"/>
                <a:gd name="T52" fmla="*/ 536 w 664"/>
                <a:gd name="T53" fmla="*/ 208 h 579"/>
                <a:gd name="T54" fmla="*/ 508 w 664"/>
                <a:gd name="T55" fmla="*/ 216 h 579"/>
                <a:gd name="T56" fmla="*/ 494 w 664"/>
                <a:gd name="T57" fmla="*/ 204 h 579"/>
                <a:gd name="T58" fmla="*/ 458 w 664"/>
                <a:gd name="T59" fmla="*/ 146 h 579"/>
                <a:gd name="T60" fmla="*/ 424 w 664"/>
                <a:gd name="T61" fmla="*/ 112 h 579"/>
                <a:gd name="T62" fmla="*/ 412 w 664"/>
                <a:gd name="T63" fmla="*/ 30 h 579"/>
                <a:gd name="T64" fmla="*/ 326 w 664"/>
                <a:gd name="T65" fmla="*/ 2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64" h="579">
                  <a:moveTo>
                    <a:pt x="326" y="2"/>
                  </a:moveTo>
                  <a:lnTo>
                    <a:pt x="0" y="6"/>
                  </a:lnTo>
                  <a:lnTo>
                    <a:pt x="0" y="14"/>
                  </a:lnTo>
                  <a:lnTo>
                    <a:pt x="6" y="16"/>
                  </a:lnTo>
                  <a:lnTo>
                    <a:pt x="10" y="44"/>
                  </a:lnTo>
                  <a:lnTo>
                    <a:pt x="28" y="52"/>
                  </a:lnTo>
                  <a:lnTo>
                    <a:pt x="26" y="58"/>
                  </a:lnTo>
                  <a:lnTo>
                    <a:pt x="34" y="68"/>
                  </a:lnTo>
                  <a:lnTo>
                    <a:pt x="32" y="78"/>
                  </a:lnTo>
                  <a:lnTo>
                    <a:pt x="62" y="100"/>
                  </a:lnTo>
                  <a:lnTo>
                    <a:pt x="78" y="96"/>
                  </a:lnTo>
                  <a:lnTo>
                    <a:pt x="86" y="116"/>
                  </a:lnTo>
                  <a:lnTo>
                    <a:pt x="76" y="116"/>
                  </a:lnTo>
                  <a:lnTo>
                    <a:pt x="62" y="140"/>
                  </a:lnTo>
                  <a:lnTo>
                    <a:pt x="82" y="162"/>
                  </a:lnTo>
                  <a:lnTo>
                    <a:pt x="90" y="184"/>
                  </a:lnTo>
                  <a:lnTo>
                    <a:pt x="110" y="190"/>
                  </a:lnTo>
                  <a:lnTo>
                    <a:pt x="112" y="527"/>
                  </a:lnTo>
                  <a:lnTo>
                    <a:pt x="562" y="513"/>
                  </a:lnTo>
                  <a:lnTo>
                    <a:pt x="572" y="531"/>
                  </a:lnTo>
                  <a:lnTo>
                    <a:pt x="572" y="541"/>
                  </a:lnTo>
                  <a:lnTo>
                    <a:pt x="542" y="579"/>
                  </a:lnTo>
                  <a:lnTo>
                    <a:pt x="608" y="577"/>
                  </a:lnTo>
                  <a:lnTo>
                    <a:pt x="620" y="559"/>
                  </a:lnTo>
                  <a:lnTo>
                    <a:pt x="612" y="545"/>
                  </a:lnTo>
                  <a:lnTo>
                    <a:pt x="624" y="543"/>
                  </a:lnTo>
                  <a:lnTo>
                    <a:pt x="616" y="535"/>
                  </a:lnTo>
                  <a:lnTo>
                    <a:pt x="626" y="527"/>
                  </a:lnTo>
                  <a:lnTo>
                    <a:pt x="622" y="507"/>
                  </a:lnTo>
                  <a:lnTo>
                    <a:pt x="628" y="505"/>
                  </a:lnTo>
                  <a:lnTo>
                    <a:pt x="632" y="519"/>
                  </a:lnTo>
                  <a:lnTo>
                    <a:pt x="640" y="495"/>
                  </a:lnTo>
                  <a:lnTo>
                    <a:pt x="654" y="501"/>
                  </a:lnTo>
                  <a:lnTo>
                    <a:pt x="664" y="475"/>
                  </a:lnTo>
                  <a:lnTo>
                    <a:pt x="664" y="451"/>
                  </a:lnTo>
                  <a:lnTo>
                    <a:pt x="656" y="449"/>
                  </a:lnTo>
                  <a:lnTo>
                    <a:pt x="648" y="435"/>
                  </a:lnTo>
                  <a:lnTo>
                    <a:pt x="644" y="437"/>
                  </a:lnTo>
                  <a:lnTo>
                    <a:pt x="648" y="447"/>
                  </a:lnTo>
                  <a:lnTo>
                    <a:pt x="636" y="441"/>
                  </a:lnTo>
                  <a:lnTo>
                    <a:pt x="626" y="417"/>
                  </a:lnTo>
                  <a:lnTo>
                    <a:pt x="620" y="415"/>
                  </a:lnTo>
                  <a:lnTo>
                    <a:pt x="628" y="395"/>
                  </a:lnTo>
                  <a:lnTo>
                    <a:pt x="618" y="377"/>
                  </a:lnTo>
                  <a:lnTo>
                    <a:pt x="618" y="361"/>
                  </a:lnTo>
                  <a:lnTo>
                    <a:pt x="576" y="329"/>
                  </a:lnTo>
                  <a:lnTo>
                    <a:pt x="564" y="327"/>
                  </a:lnTo>
                  <a:lnTo>
                    <a:pt x="532" y="297"/>
                  </a:lnTo>
                  <a:lnTo>
                    <a:pt x="528" y="281"/>
                  </a:lnTo>
                  <a:lnTo>
                    <a:pt x="546" y="246"/>
                  </a:lnTo>
                  <a:lnTo>
                    <a:pt x="544" y="234"/>
                  </a:lnTo>
                  <a:lnTo>
                    <a:pt x="550" y="222"/>
                  </a:lnTo>
                  <a:lnTo>
                    <a:pt x="550" y="218"/>
                  </a:lnTo>
                  <a:lnTo>
                    <a:pt x="536" y="208"/>
                  </a:lnTo>
                  <a:lnTo>
                    <a:pt x="518" y="204"/>
                  </a:lnTo>
                  <a:lnTo>
                    <a:pt x="508" y="216"/>
                  </a:lnTo>
                  <a:lnTo>
                    <a:pt x="500" y="214"/>
                  </a:lnTo>
                  <a:lnTo>
                    <a:pt x="494" y="204"/>
                  </a:lnTo>
                  <a:lnTo>
                    <a:pt x="482" y="164"/>
                  </a:lnTo>
                  <a:lnTo>
                    <a:pt x="458" y="146"/>
                  </a:lnTo>
                  <a:lnTo>
                    <a:pt x="452" y="134"/>
                  </a:lnTo>
                  <a:lnTo>
                    <a:pt x="424" y="112"/>
                  </a:lnTo>
                  <a:lnTo>
                    <a:pt x="408" y="62"/>
                  </a:lnTo>
                  <a:lnTo>
                    <a:pt x="412" y="30"/>
                  </a:lnTo>
                  <a:lnTo>
                    <a:pt x="384" y="0"/>
                  </a:lnTo>
                  <a:lnTo>
                    <a:pt x="326" y="2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" name="Freeform 219"/>
            <p:cNvSpPr>
              <a:spLocks/>
            </p:cNvSpPr>
            <p:nvPr/>
          </p:nvSpPr>
          <p:spPr bwMode="auto">
            <a:xfrm>
              <a:off x="3767139" y="1172190"/>
              <a:ext cx="783431" cy="495300"/>
            </a:xfrm>
            <a:custGeom>
              <a:avLst/>
              <a:gdLst>
                <a:gd name="T0" fmla="*/ 590 w 658"/>
                <a:gd name="T1" fmla="*/ 34 h 416"/>
                <a:gd name="T2" fmla="*/ 260 w 658"/>
                <a:gd name="T3" fmla="*/ 18 h 416"/>
                <a:gd name="T4" fmla="*/ 36 w 658"/>
                <a:gd name="T5" fmla="*/ 0 h 416"/>
                <a:gd name="T6" fmla="*/ 0 w 658"/>
                <a:gd name="T7" fmla="*/ 378 h 416"/>
                <a:gd name="T8" fmla="*/ 620 w 658"/>
                <a:gd name="T9" fmla="*/ 414 h 416"/>
                <a:gd name="T10" fmla="*/ 658 w 658"/>
                <a:gd name="T11" fmla="*/ 416 h 416"/>
                <a:gd name="T12" fmla="*/ 656 w 658"/>
                <a:gd name="T13" fmla="*/ 368 h 416"/>
                <a:gd name="T14" fmla="*/ 646 w 658"/>
                <a:gd name="T15" fmla="*/ 352 h 416"/>
                <a:gd name="T16" fmla="*/ 638 w 658"/>
                <a:gd name="T17" fmla="*/ 326 h 416"/>
                <a:gd name="T18" fmla="*/ 644 w 658"/>
                <a:gd name="T19" fmla="*/ 292 h 416"/>
                <a:gd name="T20" fmla="*/ 640 w 658"/>
                <a:gd name="T21" fmla="*/ 290 h 416"/>
                <a:gd name="T22" fmla="*/ 636 w 658"/>
                <a:gd name="T23" fmla="*/ 206 h 416"/>
                <a:gd name="T24" fmla="*/ 614 w 658"/>
                <a:gd name="T25" fmla="*/ 136 h 416"/>
                <a:gd name="T26" fmla="*/ 614 w 658"/>
                <a:gd name="T27" fmla="*/ 86 h 416"/>
                <a:gd name="T28" fmla="*/ 618 w 658"/>
                <a:gd name="T29" fmla="*/ 72 h 416"/>
                <a:gd name="T30" fmla="*/ 608 w 658"/>
                <a:gd name="T31" fmla="*/ 34 h 416"/>
                <a:gd name="T32" fmla="*/ 608 w 658"/>
                <a:gd name="T33" fmla="*/ 34 h 416"/>
                <a:gd name="T34" fmla="*/ 590 w 658"/>
                <a:gd name="T35" fmla="*/ 34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8" h="416">
                  <a:moveTo>
                    <a:pt x="590" y="34"/>
                  </a:moveTo>
                  <a:lnTo>
                    <a:pt x="260" y="18"/>
                  </a:lnTo>
                  <a:lnTo>
                    <a:pt x="36" y="0"/>
                  </a:lnTo>
                  <a:lnTo>
                    <a:pt x="0" y="378"/>
                  </a:lnTo>
                  <a:lnTo>
                    <a:pt x="620" y="414"/>
                  </a:lnTo>
                  <a:lnTo>
                    <a:pt x="658" y="416"/>
                  </a:lnTo>
                  <a:lnTo>
                    <a:pt x="656" y="368"/>
                  </a:lnTo>
                  <a:lnTo>
                    <a:pt x="646" y="352"/>
                  </a:lnTo>
                  <a:lnTo>
                    <a:pt x="638" y="326"/>
                  </a:lnTo>
                  <a:lnTo>
                    <a:pt x="644" y="292"/>
                  </a:lnTo>
                  <a:lnTo>
                    <a:pt x="640" y="290"/>
                  </a:lnTo>
                  <a:lnTo>
                    <a:pt x="636" y="206"/>
                  </a:lnTo>
                  <a:lnTo>
                    <a:pt x="614" y="136"/>
                  </a:lnTo>
                  <a:lnTo>
                    <a:pt x="614" y="86"/>
                  </a:lnTo>
                  <a:lnTo>
                    <a:pt x="618" y="72"/>
                  </a:lnTo>
                  <a:lnTo>
                    <a:pt x="608" y="34"/>
                  </a:lnTo>
                  <a:lnTo>
                    <a:pt x="608" y="34"/>
                  </a:lnTo>
                  <a:lnTo>
                    <a:pt x="590" y="34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" name="Freeform 220"/>
            <p:cNvSpPr>
              <a:spLocks/>
            </p:cNvSpPr>
            <p:nvPr/>
          </p:nvSpPr>
          <p:spPr bwMode="auto">
            <a:xfrm>
              <a:off x="1838327" y="1896090"/>
              <a:ext cx="764381" cy="1179910"/>
            </a:xfrm>
            <a:custGeom>
              <a:avLst/>
              <a:gdLst>
                <a:gd name="T0" fmla="*/ 330 w 642"/>
                <a:gd name="T1" fmla="*/ 877 h 991"/>
                <a:gd name="T2" fmla="*/ 0 w 642"/>
                <a:gd name="T3" fmla="*/ 370 h 991"/>
                <a:gd name="T4" fmla="*/ 100 w 642"/>
                <a:gd name="T5" fmla="*/ 0 h 991"/>
                <a:gd name="T6" fmla="*/ 370 w 642"/>
                <a:gd name="T7" fmla="*/ 68 h 991"/>
                <a:gd name="T8" fmla="*/ 642 w 642"/>
                <a:gd name="T9" fmla="*/ 130 h 991"/>
                <a:gd name="T10" fmla="*/ 496 w 642"/>
                <a:gd name="T11" fmla="*/ 853 h 991"/>
                <a:gd name="T12" fmla="*/ 484 w 642"/>
                <a:gd name="T13" fmla="*/ 869 h 991"/>
                <a:gd name="T14" fmla="*/ 478 w 642"/>
                <a:gd name="T15" fmla="*/ 871 h 991"/>
                <a:gd name="T16" fmla="*/ 470 w 642"/>
                <a:gd name="T17" fmla="*/ 869 h 991"/>
                <a:gd name="T18" fmla="*/ 462 w 642"/>
                <a:gd name="T19" fmla="*/ 853 h 991"/>
                <a:gd name="T20" fmla="*/ 454 w 642"/>
                <a:gd name="T21" fmla="*/ 853 h 991"/>
                <a:gd name="T22" fmla="*/ 444 w 642"/>
                <a:gd name="T23" fmla="*/ 847 h 991"/>
                <a:gd name="T24" fmla="*/ 428 w 642"/>
                <a:gd name="T25" fmla="*/ 859 h 991"/>
                <a:gd name="T26" fmla="*/ 422 w 642"/>
                <a:gd name="T27" fmla="*/ 869 h 991"/>
                <a:gd name="T28" fmla="*/ 426 w 642"/>
                <a:gd name="T29" fmla="*/ 879 h 991"/>
                <a:gd name="T30" fmla="*/ 418 w 642"/>
                <a:gd name="T31" fmla="*/ 897 h 991"/>
                <a:gd name="T32" fmla="*/ 416 w 642"/>
                <a:gd name="T33" fmla="*/ 971 h 991"/>
                <a:gd name="T34" fmla="*/ 410 w 642"/>
                <a:gd name="T35" fmla="*/ 973 h 991"/>
                <a:gd name="T36" fmla="*/ 406 w 642"/>
                <a:gd name="T37" fmla="*/ 991 h 991"/>
                <a:gd name="T38" fmla="*/ 330 w 642"/>
                <a:gd name="T39" fmla="*/ 877 h 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2" h="991">
                  <a:moveTo>
                    <a:pt x="330" y="877"/>
                  </a:moveTo>
                  <a:lnTo>
                    <a:pt x="0" y="370"/>
                  </a:lnTo>
                  <a:lnTo>
                    <a:pt x="100" y="0"/>
                  </a:lnTo>
                  <a:lnTo>
                    <a:pt x="370" y="68"/>
                  </a:lnTo>
                  <a:lnTo>
                    <a:pt x="642" y="130"/>
                  </a:lnTo>
                  <a:lnTo>
                    <a:pt x="496" y="853"/>
                  </a:lnTo>
                  <a:lnTo>
                    <a:pt x="484" y="869"/>
                  </a:lnTo>
                  <a:lnTo>
                    <a:pt x="478" y="871"/>
                  </a:lnTo>
                  <a:lnTo>
                    <a:pt x="470" y="869"/>
                  </a:lnTo>
                  <a:lnTo>
                    <a:pt x="462" y="853"/>
                  </a:lnTo>
                  <a:lnTo>
                    <a:pt x="454" y="853"/>
                  </a:lnTo>
                  <a:lnTo>
                    <a:pt x="444" y="847"/>
                  </a:lnTo>
                  <a:lnTo>
                    <a:pt x="428" y="859"/>
                  </a:lnTo>
                  <a:lnTo>
                    <a:pt x="422" y="869"/>
                  </a:lnTo>
                  <a:lnTo>
                    <a:pt x="426" y="879"/>
                  </a:lnTo>
                  <a:lnTo>
                    <a:pt x="418" y="897"/>
                  </a:lnTo>
                  <a:lnTo>
                    <a:pt x="416" y="971"/>
                  </a:lnTo>
                  <a:lnTo>
                    <a:pt x="410" y="973"/>
                  </a:lnTo>
                  <a:lnTo>
                    <a:pt x="406" y="991"/>
                  </a:lnTo>
                  <a:lnTo>
                    <a:pt x="330" y="877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" name="Freeform 222"/>
            <p:cNvSpPr>
              <a:spLocks/>
            </p:cNvSpPr>
            <p:nvPr/>
          </p:nvSpPr>
          <p:spPr bwMode="auto">
            <a:xfrm>
              <a:off x="7233939" y="1072177"/>
              <a:ext cx="450056" cy="688181"/>
            </a:xfrm>
            <a:custGeom>
              <a:avLst/>
              <a:gdLst>
                <a:gd name="T0" fmla="*/ 0 w 378"/>
                <a:gd name="T1" fmla="*/ 318 h 578"/>
                <a:gd name="T2" fmla="*/ 30 w 378"/>
                <a:gd name="T3" fmla="*/ 312 h 578"/>
                <a:gd name="T4" fmla="*/ 30 w 378"/>
                <a:gd name="T5" fmla="*/ 300 h 578"/>
                <a:gd name="T6" fmla="*/ 42 w 378"/>
                <a:gd name="T7" fmla="*/ 298 h 578"/>
                <a:gd name="T8" fmla="*/ 36 w 378"/>
                <a:gd name="T9" fmla="*/ 280 h 578"/>
                <a:gd name="T10" fmla="*/ 50 w 378"/>
                <a:gd name="T11" fmla="*/ 256 h 578"/>
                <a:gd name="T12" fmla="*/ 68 w 378"/>
                <a:gd name="T13" fmla="*/ 24 h 578"/>
                <a:gd name="T14" fmla="*/ 86 w 378"/>
                <a:gd name="T15" fmla="*/ 14 h 578"/>
                <a:gd name="T16" fmla="*/ 110 w 378"/>
                <a:gd name="T17" fmla="*/ 34 h 578"/>
                <a:gd name="T18" fmla="*/ 156 w 378"/>
                <a:gd name="T19" fmla="*/ 22 h 578"/>
                <a:gd name="T20" fmla="*/ 174 w 378"/>
                <a:gd name="T21" fmla="*/ 0 h 578"/>
                <a:gd name="T22" fmla="*/ 272 w 378"/>
                <a:gd name="T23" fmla="*/ 190 h 578"/>
                <a:gd name="T24" fmla="*/ 312 w 378"/>
                <a:gd name="T25" fmla="*/ 228 h 578"/>
                <a:gd name="T26" fmla="*/ 334 w 378"/>
                <a:gd name="T27" fmla="*/ 238 h 578"/>
                <a:gd name="T28" fmla="*/ 354 w 378"/>
                <a:gd name="T29" fmla="*/ 234 h 578"/>
                <a:gd name="T30" fmla="*/ 366 w 378"/>
                <a:gd name="T31" fmla="*/ 252 h 578"/>
                <a:gd name="T32" fmla="*/ 364 w 378"/>
                <a:gd name="T33" fmla="*/ 268 h 578"/>
                <a:gd name="T34" fmla="*/ 378 w 378"/>
                <a:gd name="T35" fmla="*/ 274 h 578"/>
                <a:gd name="T36" fmla="*/ 370 w 378"/>
                <a:gd name="T37" fmla="*/ 292 h 578"/>
                <a:gd name="T38" fmla="*/ 354 w 378"/>
                <a:gd name="T39" fmla="*/ 302 h 578"/>
                <a:gd name="T40" fmla="*/ 340 w 378"/>
                <a:gd name="T41" fmla="*/ 314 h 578"/>
                <a:gd name="T42" fmla="*/ 314 w 378"/>
                <a:gd name="T43" fmla="*/ 338 h 578"/>
                <a:gd name="T44" fmla="*/ 298 w 378"/>
                <a:gd name="T45" fmla="*/ 348 h 578"/>
                <a:gd name="T46" fmla="*/ 286 w 378"/>
                <a:gd name="T47" fmla="*/ 370 h 578"/>
                <a:gd name="T48" fmla="*/ 262 w 378"/>
                <a:gd name="T49" fmla="*/ 368 h 578"/>
                <a:gd name="T50" fmla="*/ 248 w 378"/>
                <a:gd name="T51" fmla="*/ 372 h 578"/>
                <a:gd name="T52" fmla="*/ 236 w 378"/>
                <a:gd name="T53" fmla="*/ 354 h 578"/>
                <a:gd name="T54" fmla="*/ 228 w 378"/>
                <a:gd name="T55" fmla="*/ 358 h 578"/>
                <a:gd name="T56" fmla="*/ 224 w 378"/>
                <a:gd name="T57" fmla="*/ 384 h 578"/>
                <a:gd name="T58" fmla="*/ 222 w 378"/>
                <a:gd name="T59" fmla="*/ 408 h 578"/>
                <a:gd name="T60" fmla="*/ 216 w 378"/>
                <a:gd name="T61" fmla="*/ 426 h 578"/>
                <a:gd name="T62" fmla="*/ 200 w 378"/>
                <a:gd name="T63" fmla="*/ 434 h 578"/>
                <a:gd name="T64" fmla="*/ 190 w 378"/>
                <a:gd name="T65" fmla="*/ 452 h 578"/>
                <a:gd name="T66" fmla="*/ 180 w 378"/>
                <a:gd name="T67" fmla="*/ 446 h 578"/>
                <a:gd name="T68" fmla="*/ 176 w 378"/>
                <a:gd name="T69" fmla="*/ 464 h 578"/>
                <a:gd name="T70" fmla="*/ 170 w 378"/>
                <a:gd name="T71" fmla="*/ 472 h 578"/>
                <a:gd name="T72" fmla="*/ 154 w 378"/>
                <a:gd name="T73" fmla="*/ 462 h 578"/>
                <a:gd name="T74" fmla="*/ 134 w 378"/>
                <a:gd name="T75" fmla="*/ 488 h 578"/>
                <a:gd name="T76" fmla="*/ 120 w 378"/>
                <a:gd name="T77" fmla="*/ 552 h 578"/>
                <a:gd name="T78" fmla="*/ 90 w 378"/>
                <a:gd name="T79" fmla="*/ 570 h 578"/>
                <a:gd name="T80" fmla="*/ 68 w 378"/>
                <a:gd name="T81" fmla="*/ 544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78" h="578">
                  <a:moveTo>
                    <a:pt x="36" y="430"/>
                  </a:moveTo>
                  <a:lnTo>
                    <a:pt x="0" y="318"/>
                  </a:lnTo>
                  <a:lnTo>
                    <a:pt x="12" y="308"/>
                  </a:lnTo>
                  <a:lnTo>
                    <a:pt x="30" y="312"/>
                  </a:lnTo>
                  <a:lnTo>
                    <a:pt x="28" y="302"/>
                  </a:lnTo>
                  <a:lnTo>
                    <a:pt x="30" y="300"/>
                  </a:lnTo>
                  <a:lnTo>
                    <a:pt x="42" y="302"/>
                  </a:lnTo>
                  <a:lnTo>
                    <a:pt x="42" y="298"/>
                  </a:lnTo>
                  <a:lnTo>
                    <a:pt x="36" y="288"/>
                  </a:lnTo>
                  <a:lnTo>
                    <a:pt x="36" y="280"/>
                  </a:lnTo>
                  <a:lnTo>
                    <a:pt x="48" y="262"/>
                  </a:lnTo>
                  <a:lnTo>
                    <a:pt x="50" y="256"/>
                  </a:lnTo>
                  <a:lnTo>
                    <a:pt x="44" y="102"/>
                  </a:lnTo>
                  <a:lnTo>
                    <a:pt x="68" y="24"/>
                  </a:lnTo>
                  <a:lnTo>
                    <a:pt x="76" y="16"/>
                  </a:lnTo>
                  <a:lnTo>
                    <a:pt x="86" y="14"/>
                  </a:lnTo>
                  <a:lnTo>
                    <a:pt x="98" y="20"/>
                  </a:lnTo>
                  <a:lnTo>
                    <a:pt x="110" y="34"/>
                  </a:lnTo>
                  <a:lnTo>
                    <a:pt x="132" y="36"/>
                  </a:lnTo>
                  <a:lnTo>
                    <a:pt x="156" y="22"/>
                  </a:lnTo>
                  <a:lnTo>
                    <a:pt x="162" y="2"/>
                  </a:lnTo>
                  <a:lnTo>
                    <a:pt x="174" y="0"/>
                  </a:lnTo>
                  <a:lnTo>
                    <a:pt x="224" y="26"/>
                  </a:lnTo>
                  <a:lnTo>
                    <a:pt x="272" y="190"/>
                  </a:lnTo>
                  <a:lnTo>
                    <a:pt x="300" y="196"/>
                  </a:lnTo>
                  <a:lnTo>
                    <a:pt x="312" y="228"/>
                  </a:lnTo>
                  <a:lnTo>
                    <a:pt x="318" y="234"/>
                  </a:lnTo>
                  <a:lnTo>
                    <a:pt x="334" y="238"/>
                  </a:lnTo>
                  <a:lnTo>
                    <a:pt x="348" y="236"/>
                  </a:lnTo>
                  <a:lnTo>
                    <a:pt x="354" y="234"/>
                  </a:lnTo>
                  <a:lnTo>
                    <a:pt x="354" y="228"/>
                  </a:lnTo>
                  <a:lnTo>
                    <a:pt x="366" y="252"/>
                  </a:lnTo>
                  <a:lnTo>
                    <a:pt x="362" y="264"/>
                  </a:lnTo>
                  <a:lnTo>
                    <a:pt x="364" y="268"/>
                  </a:lnTo>
                  <a:lnTo>
                    <a:pt x="374" y="266"/>
                  </a:lnTo>
                  <a:lnTo>
                    <a:pt x="378" y="274"/>
                  </a:lnTo>
                  <a:lnTo>
                    <a:pt x="378" y="282"/>
                  </a:lnTo>
                  <a:lnTo>
                    <a:pt x="370" y="292"/>
                  </a:lnTo>
                  <a:lnTo>
                    <a:pt x="358" y="296"/>
                  </a:lnTo>
                  <a:lnTo>
                    <a:pt x="354" y="302"/>
                  </a:lnTo>
                  <a:lnTo>
                    <a:pt x="344" y="306"/>
                  </a:lnTo>
                  <a:lnTo>
                    <a:pt x="340" y="314"/>
                  </a:lnTo>
                  <a:lnTo>
                    <a:pt x="316" y="326"/>
                  </a:lnTo>
                  <a:lnTo>
                    <a:pt x="314" y="338"/>
                  </a:lnTo>
                  <a:lnTo>
                    <a:pt x="306" y="346"/>
                  </a:lnTo>
                  <a:lnTo>
                    <a:pt x="298" y="348"/>
                  </a:lnTo>
                  <a:lnTo>
                    <a:pt x="290" y="360"/>
                  </a:lnTo>
                  <a:lnTo>
                    <a:pt x="286" y="370"/>
                  </a:lnTo>
                  <a:lnTo>
                    <a:pt x="280" y="374"/>
                  </a:lnTo>
                  <a:lnTo>
                    <a:pt x="262" y="368"/>
                  </a:lnTo>
                  <a:lnTo>
                    <a:pt x="256" y="374"/>
                  </a:lnTo>
                  <a:lnTo>
                    <a:pt x="248" y="372"/>
                  </a:lnTo>
                  <a:lnTo>
                    <a:pt x="242" y="366"/>
                  </a:lnTo>
                  <a:lnTo>
                    <a:pt x="236" y="354"/>
                  </a:lnTo>
                  <a:lnTo>
                    <a:pt x="234" y="354"/>
                  </a:lnTo>
                  <a:lnTo>
                    <a:pt x="228" y="358"/>
                  </a:lnTo>
                  <a:lnTo>
                    <a:pt x="222" y="366"/>
                  </a:lnTo>
                  <a:lnTo>
                    <a:pt x="224" y="384"/>
                  </a:lnTo>
                  <a:lnTo>
                    <a:pt x="220" y="396"/>
                  </a:lnTo>
                  <a:lnTo>
                    <a:pt x="222" y="408"/>
                  </a:lnTo>
                  <a:lnTo>
                    <a:pt x="218" y="424"/>
                  </a:lnTo>
                  <a:lnTo>
                    <a:pt x="216" y="426"/>
                  </a:lnTo>
                  <a:lnTo>
                    <a:pt x="204" y="426"/>
                  </a:lnTo>
                  <a:lnTo>
                    <a:pt x="200" y="434"/>
                  </a:lnTo>
                  <a:lnTo>
                    <a:pt x="198" y="446"/>
                  </a:lnTo>
                  <a:lnTo>
                    <a:pt x="190" y="452"/>
                  </a:lnTo>
                  <a:lnTo>
                    <a:pt x="186" y="452"/>
                  </a:lnTo>
                  <a:lnTo>
                    <a:pt x="180" y="446"/>
                  </a:lnTo>
                  <a:lnTo>
                    <a:pt x="176" y="448"/>
                  </a:lnTo>
                  <a:lnTo>
                    <a:pt x="176" y="464"/>
                  </a:lnTo>
                  <a:lnTo>
                    <a:pt x="172" y="474"/>
                  </a:lnTo>
                  <a:lnTo>
                    <a:pt x="170" y="472"/>
                  </a:lnTo>
                  <a:lnTo>
                    <a:pt x="160" y="462"/>
                  </a:lnTo>
                  <a:lnTo>
                    <a:pt x="154" y="462"/>
                  </a:lnTo>
                  <a:lnTo>
                    <a:pt x="142" y="472"/>
                  </a:lnTo>
                  <a:lnTo>
                    <a:pt x="134" y="488"/>
                  </a:lnTo>
                  <a:lnTo>
                    <a:pt x="136" y="508"/>
                  </a:lnTo>
                  <a:lnTo>
                    <a:pt x="120" y="552"/>
                  </a:lnTo>
                  <a:lnTo>
                    <a:pt x="100" y="578"/>
                  </a:lnTo>
                  <a:lnTo>
                    <a:pt x="90" y="570"/>
                  </a:lnTo>
                  <a:lnTo>
                    <a:pt x="88" y="560"/>
                  </a:lnTo>
                  <a:lnTo>
                    <a:pt x="68" y="544"/>
                  </a:lnTo>
                  <a:lnTo>
                    <a:pt x="36" y="43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chemeClr val="bg2"/>
                </a:solidFill>
                <a:latin typeface="+mj-lt"/>
              </a:endParaRPr>
            </a:p>
          </p:txBody>
        </p:sp>
        <p:sp>
          <p:nvSpPr>
            <p:cNvPr id="37" name="Freeform 223"/>
            <p:cNvSpPr>
              <a:spLocks/>
            </p:cNvSpPr>
            <p:nvPr/>
          </p:nvSpPr>
          <p:spPr bwMode="auto">
            <a:xfrm>
              <a:off x="5528073" y="2236609"/>
              <a:ext cx="376238" cy="634604"/>
            </a:xfrm>
            <a:custGeom>
              <a:avLst/>
              <a:gdLst>
                <a:gd name="T0" fmla="*/ 40 w 316"/>
                <a:gd name="T1" fmla="*/ 36 h 533"/>
                <a:gd name="T2" fmla="*/ 44 w 316"/>
                <a:gd name="T3" fmla="*/ 328 h 533"/>
                <a:gd name="T4" fmla="*/ 38 w 316"/>
                <a:gd name="T5" fmla="*/ 350 h 533"/>
                <a:gd name="T6" fmla="*/ 46 w 316"/>
                <a:gd name="T7" fmla="*/ 382 h 533"/>
                <a:gd name="T8" fmla="*/ 50 w 316"/>
                <a:gd name="T9" fmla="*/ 408 h 533"/>
                <a:gd name="T10" fmla="*/ 40 w 316"/>
                <a:gd name="T11" fmla="*/ 440 h 533"/>
                <a:gd name="T12" fmla="*/ 22 w 316"/>
                <a:gd name="T13" fmla="*/ 467 h 533"/>
                <a:gd name="T14" fmla="*/ 8 w 316"/>
                <a:gd name="T15" fmla="*/ 475 h 533"/>
                <a:gd name="T16" fmla="*/ 6 w 316"/>
                <a:gd name="T17" fmla="*/ 493 h 533"/>
                <a:gd name="T18" fmla="*/ 4 w 316"/>
                <a:gd name="T19" fmla="*/ 499 h 533"/>
                <a:gd name="T20" fmla="*/ 0 w 316"/>
                <a:gd name="T21" fmla="*/ 519 h 533"/>
                <a:gd name="T22" fmla="*/ 2 w 316"/>
                <a:gd name="T23" fmla="*/ 529 h 533"/>
                <a:gd name="T24" fmla="*/ 8 w 316"/>
                <a:gd name="T25" fmla="*/ 529 h 533"/>
                <a:gd name="T26" fmla="*/ 22 w 316"/>
                <a:gd name="T27" fmla="*/ 527 h 533"/>
                <a:gd name="T28" fmla="*/ 22 w 316"/>
                <a:gd name="T29" fmla="*/ 513 h 533"/>
                <a:gd name="T30" fmla="*/ 42 w 316"/>
                <a:gd name="T31" fmla="*/ 515 h 533"/>
                <a:gd name="T32" fmla="*/ 52 w 316"/>
                <a:gd name="T33" fmla="*/ 521 h 533"/>
                <a:gd name="T34" fmla="*/ 54 w 316"/>
                <a:gd name="T35" fmla="*/ 513 h 533"/>
                <a:gd name="T36" fmla="*/ 100 w 316"/>
                <a:gd name="T37" fmla="*/ 525 h 533"/>
                <a:gd name="T38" fmla="*/ 126 w 316"/>
                <a:gd name="T39" fmla="*/ 497 h 533"/>
                <a:gd name="T40" fmla="*/ 144 w 316"/>
                <a:gd name="T41" fmla="*/ 507 h 533"/>
                <a:gd name="T42" fmla="*/ 150 w 316"/>
                <a:gd name="T43" fmla="*/ 505 h 533"/>
                <a:gd name="T44" fmla="*/ 156 w 316"/>
                <a:gd name="T45" fmla="*/ 489 h 533"/>
                <a:gd name="T46" fmla="*/ 160 w 316"/>
                <a:gd name="T47" fmla="*/ 477 h 533"/>
                <a:gd name="T48" fmla="*/ 168 w 316"/>
                <a:gd name="T49" fmla="*/ 467 h 533"/>
                <a:gd name="T50" fmla="*/ 180 w 316"/>
                <a:gd name="T51" fmla="*/ 483 h 533"/>
                <a:gd name="T52" fmla="*/ 214 w 316"/>
                <a:gd name="T53" fmla="*/ 483 h 533"/>
                <a:gd name="T54" fmla="*/ 220 w 316"/>
                <a:gd name="T55" fmla="*/ 452 h 533"/>
                <a:gd name="T56" fmla="*/ 240 w 316"/>
                <a:gd name="T57" fmla="*/ 428 h 533"/>
                <a:gd name="T58" fmla="*/ 254 w 316"/>
                <a:gd name="T59" fmla="*/ 392 h 533"/>
                <a:gd name="T60" fmla="*/ 280 w 316"/>
                <a:gd name="T61" fmla="*/ 394 h 533"/>
                <a:gd name="T62" fmla="*/ 314 w 316"/>
                <a:gd name="T63" fmla="*/ 378 h 533"/>
                <a:gd name="T64" fmla="*/ 306 w 316"/>
                <a:gd name="T65" fmla="*/ 364 h 533"/>
                <a:gd name="T66" fmla="*/ 304 w 316"/>
                <a:gd name="T67" fmla="*/ 344 h 533"/>
                <a:gd name="T68" fmla="*/ 274 w 316"/>
                <a:gd name="T69" fmla="*/ 0 h 533"/>
                <a:gd name="T70" fmla="*/ 54 w 316"/>
                <a:gd name="T71" fmla="*/ 36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6" h="533">
                  <a:moveTo>
                    <a:pt x="54" y="36"/>
                  </a:moveTo>
                  <a:lnTo>
                    <a:pt x="40" y="36"/>
                  </a:lnTo>
                  <a:lnTo>
                    <a:pt x="20" y="30"/>
                  </a:lnTo>
                  <a:lnTo>
                    <a:pt x="44" y="328"/>
                  </a:lnTo>
                  <a:lnTo>
                    <a:pt x="34" y="338"/>
                  </a:lnTo>
                  <a:lnTo>
                    <a:pt x="38" y="350"/>
                  </a:lnTo>
                  <a:lnTo>
                    <a:pt x="32" y="362"/>
                  </a:lnTo>
                  <a:lnTo>
                    <a:pt x="46" y="382"/>
                  </a:lnTo>
                  <a:lnTo>
                    <a:pt x="44" y="392"/>
                  </a:lnTo>
                  <a:lnTo>
                    <a:pt x="50" y="408"/>
                  </a:lnTo>
                  <a:lnTo>
                    <a:pt x="38" y="432"/>
                  </a:lnTo>
                  <a:lnTo>
                    <a:pt x="40" y="440"/>
                  </a:lnTo>
                  <a:lnTo>
                    <a:pt x="30" y="446"/>
                  </a:lnTo>
                  <a:lnTo>
                    <a:pt x="22" y="467"/>
                  </a:lnTo>
                  <a:lnTo>
                    <a:pt x="12" y="467"/>
                  </a:lnTo>
                  <a:lnTo>
                    <a:pt x="8" y="475"/>
                  </a:lnTo>
                  <a:lnTo>
                    <a:pt x="16" y="487"/>
                  </a:lnTo>
                  <a:lnTo>
                    <a:pt x="6" y="493"/>
                  </a:lnTo>
                  <a:lnTo>
                    <a:pt x="12" y="495"/>
                  </a:lnTo>
                  <a:lnTo>
                    <a:pt x="4" y="499"/>
                  </a:lnTo>
                  <a:lnTo>
                    <a:pt x="8" y="519"/>
                  </a:lnTo>
                  <a:lnTo>
                    <a:pt x="0" y="519"/>
                  </a:lnTo>
                  <a:lnTo>
                    <a:pt x="8" y="525"/>
                  </a:lnTo>
                  <a:lnTo>
                    <a:pt x="2" y="529"/>
                  </a:lnTo>
                  <a:lnTo>
                    <a:pt x="6" y="529"/>
                  </a:lnTo>
                  <a:lnTo>
                    <a:pt x="8" y="529"/>
                  </a:lnTo>
                  <a:lnTo>
                    <a:pt x="16" y="533"/>
                  </a:lnTo>
                  <a:lnTo>
                    <a:pt x="22" y="527"/>
                  </a:lnTo>
                  <a:lnTo>
                    <a:pt x="18" y="517"/>
                  </a:lnTo>
                  <a:lnTo>
                    <a:pt x="22" y="513"/>
                  </a:lnTo>
                  <a:lnTo>
                    <a:pt x="30" y="519"/>
                  </a:lnTo>
                  <a:lnTo>
                    <a:pt x="42" y="515"/>
                  </a:lnTo>
                  <a:lnTo>
                    <a:pt x="46" y="525"/>
                  </a:lnTo>
                  <a:lnTo>
                    <a:pt x="52" y="521"/>
                  </a:lnTo>
                  <a:lnTo>
                    <a:pt x="50" y="505"/>
                  </a:lnTo>
                  <a:lnTo>
                    <a:pt x="54" y="513"/>
                  </a:lnTo>
                  <a:lnTo>
                    <a:pt x="70" y="509"/>
                  </a:lnTo>
                  <a:lnTo>
                    <a:pt x="100" y="525"/>
                  </a:lnTo>
                  <a:lnTo>
                    <a:pt x="108" y="509"/>
                  </a:lnTo>
                  <a:lnTo>
                    <a:pt x="126" y="497"/>
                  </a:lnTo>
                  <a:lnTo>
                    <a:pt x="134" y="507"/>
                  </a:lnTo>
                  <a:lnTo>
                    <a:pt x="144" y="507"/>
                  </a:lnTo>
                  <a:lnTo>
                    <a:pt x="146" y="513"/>
                  </a:lnTo>
                  <a:lnTo>
                    <a:pt x="150" y="505"/>
                  </a:lnTo>
                  <a:lnTo>
                    <a:pt x="158" y="501"/>
                  </a:lnTo>
                  <a:lnTo>
                    <a:pt x="156" y="489"/>
                  </a:lnTo>
                  <a:lnTo>
                    <a:pt x="164" y="483"/>
                  </a:lnTo>
                  <a:lnTo>
                    <a:pt x="160" y="477"/>
                  </a:lnTo>
                  <a:lnTo>
                    <a:pt x="174" y="475"/>
                  </a:lnTo>
                  <a:lnTo>
                    <a:pt x="168" y="467"/>
                  </a:lnTo>
                  <a:lnTo>
                    <a:pt x="178" y="473"/>
                  </a:lnTo>
                  <a:lnTo>
                    <a:pt x="180" y="483"/>
                  </a:lnTo>
                  <a:lnTo>
                    <a:pt x="204" y="493"/>
                  </a:lnTo>
                  <a:lnTo>
                    <a:pt x="214" y="483"/>
                  </a:lnTo>
                  <a:lnTo>
                    <a:pt x="216" y="465"/>
                  </a:lnTo>
                  <a:lnTo>
                    <a:pt x="220" y="452"/>
                  </a:lnTo>
                  <a:lnTo>
                    <a:pt x="236" y="448"/>
                  </a:lnTo>
                  <a:lnTo>
                    <a:pt x="240" y="428"/>
                  </a:lnTo>
                  <a:lnTo>
                    <a:pt x="258" y="416"/>
                  </a:lnTo>
                  <a:lnTo>
                    <a:pt x="254" y="392"/>
                  </a:lnTo>
                  <a:lnTo>
                    <a:pt x="270" y="388"/>
                  </a:lnTo>
                  <a:lnTo>
                    <a:pt x="280" y="394"/>
                  </a:lnTo>
                  <a:lnTo>
                    <a:pt x="298" y="380"/>
                  </a:lnTo>
                  <a:lnTo>
                    <a:pt x="314" y="378"/>
                  </a:lnTo>
                  <a:lnTo>
                    <a:pt x="316" y="366"/>
                  </a:lnTo>
                  <a:lnTo>
                    <a:pt x="306" y="364"/>
                  </a:lnTo>
                  <a:lnTo>
                    <a:pt x="310" y="354"/>
                  </a:lnTo>
                  <a:lnTo>
                    <a:pt x="304" y="344"/>
                  </a:lnTo>
                  <a:lnTo>
                    <a:pt x="310" y="338"/>
                  </a:lnTo>
                  <a:lnTo>
                    <a:pt x="274" y="0"/>
                  </a:lnTo>
                  <a:lnTo>
                    <a:pt x="76" y="18"/>
                  </a:lnTo>
                  <a:lnTo>
                    <a:pt x="54" y="3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8" name="Freeform 224"/>
            <p:cNvSpPr>
              <a:spLocks/>
            </p:cNvSpPr>
            <p:nvPr/>
          </p:nvSpPr>
          <p:spPr bwMode="auto">
            <a:xfrm>
              <a:off x="4937523" y="1510328"/>
              <a:ext cx="623888" cy="671513"/>
            </a:xfrm>
            <a:custGeom>
              <a:avLst/>
              <a:gdLst>
                <a:gd name="T0" fmla="*/ 492 w 524"/>
                <a:gd name="T1" fmla="*/ 284 h 564"/>
                <a:gd name="T2" fmla="*/ 518 w 524"/>
                <a:gd name="T3" fmla="*/ 190 h 564"/>
                <a:gd name="T4" fmla="*/ 494 w 524"/>
                <a:gd name="T5" fmla="*/ 246 h 564"/>
                <a:gd name="T6" fmla="*/ 448 w 524"/>
                <a:gd name="T7" fmla="*/ 286 h 564"/>
                <a:gd name="T8" fmla="*/ 460 w 524"/>
                <a:gd name="T9" fmla="*/ 244 h 564"/>
                <a:gd name="T10" fmla="*/ 480 w 524"/>
                <a:gd name="T11" fmla="*/ 212 h 564"/>
                <a:gd name="T12" fmla="*/ 476 w 524"/>
                <a:gd name="T13" fmla="*/ 212 h 564"/>
                <a:gd name="T14" fmla="*/ 468 w 524"/>
                <a:gd name="T15" fmla="*/ 182 h 564"/>
                <a:gd name="T16" fmla="*/ 448 w 524"/>
                <a:gd name="T17" fmla="*/ 180 h 564"/>
                <a:gd name="T18" fmla="*/ 454 w 524"/>
                <a:gd name="T19" fmla="*/ 164 h 564"/>
                <a:gd name="T20" fmla="*/ 454 w 524"/>
                <a:gd name="T21" fmla="*/ 152 h 564"/>
                <a:gd name="T22" fmla="*/ 452 w 524"/>
                <a:gd name="T23" fmla="*/ 140 h 564"/>
                <a:gd name="T24" fmla="*/ 422 w 524"/>
                <a:gd name="T25" fmla="*/ 128 h 564"/>
                <a:gd name="T26" fmla="*/ 422 w 524"/>
                <a:gd name="T27" fmla="*/ 112 h 564"/>
                <a:gd name="T28" fmla="*/ 374 w 524"/>
                <a:gd name="T29" fmla="*/ 106 h 564"/>
                <a:gd name="T30" fmla="*/ 232 w 524"/>
                <a:gd name="T31" fmla="*/ 50 h 564"/>
                <a:gd name="T32" fmla="*/ 216 w 524"/>
                <a:gd name="T33" fmla="*/ 46 h 564"/>
                <a:gd name="T34" fmla="*/ 182 w 524"/>
                <a:gd name="T35" fmla="*/ 40 h 564"/>
                <a:gd name="T36" fmla="*/ 174 w 524"/>
                <a:gd name="T37" fmla="*/ 42 h 564"/>
                <a:gd name="T38" fmla="*/ 176 w 524"/>
                <a:gd name="T39" fmla="*/ 10 h 564"/>
                <a:gd name="T40" fmla="*/ 110 w 524"/>
                <a:gd name="T41" fmla="*/ 40 h 564"/>
                <a:gd name="T42" fmla="*/ 76 w 524"/>
                <a:gd name="T43" fmla="*/ 44 h 564"/>
                <a:gd name="T44" fmla="*/ 60 w 524"/>
                <a:gd name="T45" fmla="*/ 28 h 564"/>
                <a:gd name="T46" fmla="*/ 50 w 524"/>
                <a:gd name="T47" fmla="*/ 38 h 564"/>
                <a:gd name="T48" fmla="*/ 46 w 524"/>
                <a:gd name="T49" fmla="*/ 118 h 564"/>
                <a:gd name="T50" fmla="*/ 8 w 524"/>
                <a:gd name="T51" fmla="*/ 152 h 564"/>
                <a:gd name="T52" fmla="*/ 0 w 524"/>
                <a:gd name="T53" fmla="*/ 176 h 564"/>
                <a:gd name="T54" fmla="*/ 22 w 524"/>
                <a:gd name="T55" fmla="*/ 196 h 564"/>
                <a:gd name="T56" fmla="*/ 14 w 524"/>
                <a:gd name="T57" fmla="*/ 234 h 564"/>
                <a:gd name="T58" fmla="*/ 14 w 524"/>
                <a:gd name="T59" fmla="*/ 258 h 564"/>
                <a:gd name="T60" fmla="*/ 18 w 524"/>
                <a:gd name="T61" fmla="*/ 292 h 564"/>
                <a:gd name="T62" fmla="*/ 48 w 524"/>
                <a:gd name="T63" fmla="*/ 312 h 564"/>
                <a:gd name="T64" fmla="*/ 78 w 524"/>
                <a:gd name="T65" fmla="*/ 318 h 564"/>
                <a:gd name="T66" fmla="*/ 102 w 524"/>
                <a:gd name="T67" fmla="*/ 354 h 564"/>
                <a:gd name="T68" fmla="*/ 154 w 524"/>
                <a:gd name="T69" fmla="*/ 398 h 564"/>
                <a:gd name="T70" fmla="*/ 180 w 524"/>
                <a:gd name="T71" fmla="*/ 530 h 564"/>
                <a:gd name="T72" fmla="*/ 218 w 524"/>
                <a:gd name="T73" fmla="*/ 552 h 564"/>
                <a:gd name="T74" fmla="*/ 482 w 524"/>
                <a:gd name="T75" fmla="*/ 546 h 564"/>
                <a:gd name="T76" fmla="*/ 490 w 524"/>
                <a:gd name="T77" fmla="*/ 348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24" h="564">
                  <a:moveTo>
                    <a:pt x="490" y="348"/>
                  </a:moveTo>
                  <a:lnTo>
                    <a:pt x="492" y="284"/>
                  </a:lnTo>
                  <a:lnTo>
                    <a:pt x="524" y="204"/>
                  </a:lnTo>
                  <a:lnTo>
                    <a:pt x="518" y="190"/>
                  </a:lnTo>
                  <a:lnTo>
                    <a:pt x="498" y="218"/>
                  </a:lnTo>
                  <a:lnTo>
                    <a:pt x="494" y="246"/>
                  </a:lnTo>
                  <a:lnTo>
                    <a:pt x="484" y="248"/>
                  </a:lnTo>
                  <a:lnTo>
                    <a:pt x="448" y="286"/>
                  </a:lnTo>
                  <a:lnTo>
                    <a:pt x="448" y="278"/>
                  </a:lnTo>
                  <a:lnTo>
                    <a:pt x="460" y="244"/>
                  </a:lnTo>
                  <a:lnTo>
                    <a:pt x="470" y="232"/>
                  </a:lnTo>
                  <a:lnTo>
                    <a:pt x="480" y="212"/>
                  </a:lnTo>
                  <a:lnTo>
                    <a:pt x="474" y="212"/>
                  </a:lnTo>
                  <a:lnTo>
                    <a:pt x="476" y="212"/>
                  </a:lnTo>
                  <a:lnTo>
                    <a:pt x="462" y="202"/>
                  </a:lnTo>
                  <a:lnTo>
                    <a:pt x="468" y="182"/>
                  </a:lnTo>
                  <a:lnTo>
                    <a:pt x="466" y="178"/>
                  </a:lnTo>
                  <a:lnTo>
                    <a:pt x="448" y="180"/>
                  </a:lnTo>
                  <a:lnTo>
                    <a:pt x="448" y="172"/>
                  </a:lnTo>
                  <a:lnTo>
                    <a:pt x="454" y="164"/>
                  </a:lnTo>
                  <a:lnTo>
                    <a:pt x="450" y="156"/>
                  </a:lnTo>
                  <a:lnTo>
                    <a:pt x="454" y="152"/>
                  </a:lnTo>
                  <a:lnTo>
                    <a:pt x="450" y="144"/>
                  </a:lnTo>
                  <a:lnTo>
                    <a:pt x="452" y="140"/>
                  </a:lnTo>
                  <a:lnTo>
                    <a:pt x="442" y="132"/>
                  </a:lnTo>
                  <a:lnTo>
                    <a:pt x="422" y="128"/>
                  </a:lnTo>
                  <a:lnTo>
                    <a:pt x="424" y="118"/>
                  </a:lnTo>
                  <a:lnTo>
                    <a:pt x="422" y="112"/>
                  </a:lnTo>
                  <a:lnTo>
                    <a:pt x="384" y="102"/>
                  </a:lnTo>
                  <a:lnTo>
                    <a:pt x="374" y="106"/>
                  </a:lnTo>
                  <a:lnTo>
                    <a:pt x="242" y="72"/>
                  </a:lnTo>
                  <a:lnTo>
                    <a:pt x="232" y="50"/>
                  </a:lnTo>
                  <a:lnTo>
                    <a:pt x="222" y="44"/>
                  </a:lnTo>
                  <a:lnTo>
                    <a:pt x="216" y="46"/>
                  </a:lnTo>
                  <a:lnTo>
                    <a:pt x="214" y="42"/>
                  </a:lnTo>
                  <a:lnTo>
                    <a:pt x="182" y="40"/>
                  </a:lnTo>
                  <a:lnTo>
                    <a:pt x="176" y="46"/>
                  </a:lnTo>
                  <a:lnTo>
                    <a:pt x="174" y="42"/>
                  </a:lnTo>
                  <a:lnTo>
                    <a:pt x="178" y="24"/>
                  </a:lnTo>
                  <a:lnTo>
                    <a:pt x="176" y="10"/>
                  </a:lnTo>
                  <a:lnTo>
                    <a:pt x="166" y="0"/>
                  </a:lnTo>
                  <a:lnTo>
                    <a:pt x="110" y="40"/>
                  </a:lnTo>
                  <a:lnTo>
                    <a:pt x="90" y="44"/>
                  </a:lnTo>
                  <a:lnTo>
                    <a:pt x="76" y="44"/>
                  </a:lnTo>
                  <a:lnTo>
                    <a:pt x="68" y="34"/>
                  </a:lnTo>
                  <a:lnTo>
                    <a:pt x="60" y="28"/>
                  </a:lnTo>
                  <a:lnTo>
                    <a:pt x="56" y="38"/>
                  </a:lnTo>
                  <a:lnTo>
                    <a:pt x="50" y="38"/>
                  </a:lnTo>
                  <a:lnTo>
                    <a:pt x="52" y="110"/>
                  </a:lnTo>
                  <a:lnTo>
                    <a:pt x="46" y="118"/>
                  </a:lnTo>
                  <a:lnTo>
                    <a:pt x="16" y="134"/>
                  </a:lnTo>
                  <a:lnTo>
                    <a:pt x="8" y="152"/>
                  </a:lnTo>
                  <a:lnTo>
                    <a:pt x="0" y="160"/>
                  </a:lnTo>
                  <a:lnTo>
                    <a:pt x="0" y="176"/>
                  </a:lnTo>
                  <a:lnTo>
                    <a:pt x="12" y="178"/>
                  </a:lnTo>
                  <a:lnTo>
                    <a:pt x="22" y="196"/>
                  </a:lnTo>
                  <a:lnTo>
                    <a:pt x="12" y="212"/>
                  </a:lnTo>
                  <a:lnTo>
                    <a:pt x="14" y="234"/>
                  </a:lnTo>
                  <a:lnTo>
                    <a:pt x="10" y="240"/>
                  </a:lnTo>
                  <a:lnTo>
                    <a:pt x="14" y="258"/>
                  </a:lnTo>
                  <a:lnTo>
                    <a:pt x="10" y="280"/>
                  </a:lnTo>
                  <a:lnTo>
                    <a:pt x="18" y="292"/>
                  </a:lnTo>
                  <a:lnTo>
                    <a:pt x="38" y="298"/>
                  </a:lnTo>
                  <a:lnTo>
                    <a:pt x="48" y="312"/>
                  </a:lnTo>
                  <a:lnTo>
                    <a:pt x="62" y="310"/>
                  </a:lnTo>
                  <a:lnTo>
                    <a:pt x="78" y="318"/>
                  </a:lnTo>
                  <a:lnTo>
                    <a:pt x="96" y="338"/>
                  </a:lnTo>
                  <a:lnTo>
                    <a:pt x="102" y="354"/>
                  </a:lnTo>
                  <a:lnTo>
                    <a:pt x="146" y="382"/>
                  </a:lnTo>
                  <a:lnTo>
                    <a:pt x="154" y="398"/>
                  </a:lnTo>
                  <a:lnTo>
                    <a:pt x="160" y="434"/>
                  </a:lnTo>
                  <a:lnTo>
                    <a:pt x="180" y="530"/>
                  </a:lnTo>
                  <a:lnTo>
                    <a:pt x="212" y="540"/>
                  </a:lnTo>
                  <a:lnTo>
                    <a:pt x="218" y="552"/>
                  </a:lnTo>
                  <a:lnTo>
                    <a:pt x="218" y="564"/>
                  </a:lnTo>
                  <a:lnTo>
                    <a:pt x="482" y="546"/>
                  </a:lnTo>
                  <a:lnTo>
                    <a:pt x="468" y="452"/>
                  </a:lnTo>
                  <a:lnTo>
                    <a:pt x="490" y="348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" name="Freeform 225"/>
            <p:cNvSpPr>
              <a:spLocks/>
            </p:cNvSpPr>
            <p:nvPr/>
          </p:nvSpPr>
          <p:spPr bwMode="auto">
            <a:xfrm>
              <a:off x="7094936" y="2077065"/>
              <a:ext cx="207169" cy="133350"/>
            </a:xfrm>
            <a:custGeom>
              <a:avLst/>
              <a:gdLst>
                <a:gd name="T0" fmla="*/ 146 w 174"/>
                <a:gd name="T1" fmla="*/ 0 h 112"/>
                <a:gd name="T2" fmla="*/ 118 w 174"/>
                <a:gd name="T3" fmla="*/ 34 h 112"/>
                <a:gd name="T4" fmla="*/ 36 w 174"/>
                <a:gd name="T5" fmla="*/ 64 h 112"/>
                <a:gd name="T6" fmla="*/ 12 w 174"/>
                <a:gd name="T7" fmla="*/ 82 h 112"/>
                <a:gd name="T8" fmla="*/ 8 w 174"/>
                <a:gd name="T9" fmla="*/ 92 h 112"/>
                <a:gd name="T10" fmla="*/ 0 w 174"/>
                <a:gd name="T11" fmla="*/ 96 h 112"/>
                <a:gd name="T12" fmla="*/ 0 w 174"/>
                <a:gd name="T13" fmla="*/ 110 h 112"/>
                <a:gd name="T14" fmla="*/ 2 w 174"/>
                <a:gd name="T15" fmla="*/ 112 h 112"/>
                <a:gd name="T16" fmla="*/ 2 w 174"/>
                <a:gd name="T17" fmla="*/ 106 h 112"/>
                <a:gd name="T18" fmla="*/ 10 w 174"/>
                <a:gd name="T19" fmla="*/ 102 h 112"/>
                <a:gd name="T20" fmla="*/ 12 w 174"/>
                <a:gd name="T21" fmla="*/ 108 h 112"/>
                <a:gd name="T22" fmla="*/ 20 w 174"/>
                <a:gd name="T23" fmla="*/ 110 h 112"/>
                <a:gd name="T24" fmla="*/ 174 w 174"/>
                <a:gd name="T25" fmla="*/ 14 h 112"/>
                <a:gd name="T26" fmla="*/ 154 w 174"/>
                <a:gd name="T27" fmla="*/ 16 h 112"/>
                <a:gd name="T28" fmla="*/ 142 w 174"/>
                <a:gd name="T29" fmla="*/ 26 h 112"/>
                <a:gd name="T30" fmla="*/ 136 w 174"/>
                <a:gd name="T31" fmla="*/ 34 h 112"/>
                <a:gd name="T32" fmla="*/ 124 w 174"/>
                <a:gd name="T33" fmla="*/ 40 h 112"/>
                <a:gd name="T34" fmla="*/ 126 w 174"/>
                <a:gd name="T35" fmla="*/ 34 h 112"/>
                <a:gd name="T36" fmla="*/ 142 w 174"/>
                <a:gd name="T37" fmla="*/ 10 h 112"/>
                <a:gd name="T38" fmla="*/ 146 w 174"/>
                <a:gd name="T3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4" h="112">
                  <a:moveTo>
                    <a:pt x="146" y="0"/>
                  </a:moveTo>
                  <a:lnTo>
                    <a:pt x="118" y="34"/>
                  </a:lnTo>
                  <a:lnTo>
                    <a:pt x="36" y="64"/>
                  </a:lnTo>
                  <a:lnTo>
                    <a:pt x="12" y="82"/>
                  </a:lnTo>
                  <a:lnTo>
                    <a:pt x="8" y="92"/>
                  </a:lnTo>
                  <a:lnTo>
                    <a:pt x="0" y="96"/>
                  </a:lnTo>
                  <a:lnTo>
                    <a:pt x="0" y="110"/>
                  </a:lnTo>
                  <a:lnTo>
                    <a:pt x="2" y="112"/>
                  </a:lnTo>
                  <a:lnTo>
                    <a:pt x="2" y="106"/>
                  </a:lnTo>
                  <a:lnTo>
                    <a:pt x="10" y="102"/>
                  </a:lnTo>
                  <a:lnTo>
                    <a:pt x="12" y="108"/>
                  </a:lnTo>
                  <a:lnTo>
                    <a:pt x="20" y="110"/>
                  </a:lnTo>
                  <a:lnTo>
                    <a:pt x="174" y="14"/>
                  </a:lnTo>
                  <a:lnTo>
                    <a:pt x="154" y="16"/>
                  </a:lnTo>
                  <a:lnTo>
                    <a:pt x="142" y="26"/>
                  </a:lnTo>
                  <a:lnTo>
                    <a:pt x="136" y="34"/>
                  </a:lnTo>
                  <a:lnTo>
                    <a:pt x="124" y="40"/>
                  </a:lnTo>
                  <a:lnTo>
                    <a:pt x="126" y="34"/>
                  </a:lnTo>
                  <a:lnTo>
                    <a:pt x="142" y="10"/>
                  </a:lnTo>
                  <a:lnTo>
                    <a:pt x="146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" name="Freeform 226"/>
            <p:cNvSpPr>
              <a:spLocks/>
            </p:cNvSpPr>
            <p:nvPr/>
          </p:nvSpPr>
          <p:spPr bwMode="auto">
            <a:xfrm>
              <a:off x="6704411" y="4615315"/>
              <a:ext cx="26194" cy="42863"/>
            </a:xfrm>
            <a:custGeom>
              <a:avLst/>
              <a:gdLst>
                <a:gd name="T0" fmla="*/ 22 w 22"/>
                <a:gd name="T1" fmla="*/ 2 h 36"/>
                <a:gd name="T2" fmla="*/ 16 w 22"/>
                <a:gd name="T3" fmla="*/ 0 h 36"/>
                <a:gd name="T4" fmla="*/ 0 w 22"/>
                <a:gd name="T5" fmla="*/ 32 h 36"/>
                <a:gd name="T6" fmla="*/ 2 w 22"/>
                <a:gd name="T7" fmla="*/ 36 h 36"/>
                <a:gd name="T8" fmla="*/ 22 w 22"/>
                <a:gd name="T9" fmla="*/ 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6">
                  <a:moveTo>
                    <a:pt x="22" y="2"/>
                  </a:moveTo>
                  <a:lnTo>
                    <a:pt x="16" y="0"/>
                  </a:lnTo>
                  <a:lnTo>
                    <a:pt x="0" y="32"/>
                  </a:lnTo>
                  <a:lnTo>
                    <a:pt x="2" y="36"/>
                  </a:lnTo>
                  <a:lnTo>
                    <a:pt x="22" y="2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" name="Freeform 227"/>
            <p:cNvSpPr>
              <a:spLocks/>
            </p:cNvSpPr>
            <p:nvPr/>
          </p:nvSpPr>
          <p:spPr bwMode="auto">
            <a:xfrm>
              <a:off x="6668692" y="4692869"/>
              <a:ext cx="23813" cy="19050"/>
            </a:xfrm>
            <a:custGeom>
              <a:avLst/>
              <a:gdLst>
                <a:gd name="T0" fmla="*/ 20 w 20"/>
                <a:gd name="T1" fmla="*/ 0 h 16"/>
                <a:gd name="T2" fmla="*/ 0 w 20"/>
                <a:gd name="T3" fmla="*/ 12 h 16"/>
                <a:gd name="T4" fmla="*/ 2 w 20"/>
                <a:gd name="T5" fmla="*/ 16 h 16"/>
                <a:gd name="T6" fmla="*/ 20 w 20"/>
                <a:gd name="T7" fmla="*/ 6 h 16"/>
                <a:gd name="T8" fmla="*/ 20 w 2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6">
                  <a:moveTo>
                    <a:pt x="20" y="0"/>
                  </a:moveTo>
                  <a:lnTo>
                    <a:pt x="0" y="12"/>
                  </a:lnTo>
                  <a:lnTo>
                    <a:pt x="2" y="16"/>
                  </a:lnTo>
                  <a:lnTo>
                    <a:pt x="20" y="6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" name="Freeform 228"/>
            <p:cNvSpPr>
              <a:spLocks/>
            </p:cNvSpPr>
            <p:nvPr/>
          </p:nvSpPr>
          <p:spPr bwMode="auto">
            <a:xfrm>
              <a:off x="6544867" y="4723825"/>
              <a:ext cx="66675" cy="38100"/>
            </a:xfrm>
            <a:custGeom>
              <a:avLst/>
              <a:gdLst>
                <a:gd name="T0" fmla="*/ 56 w 56"/>
                <a:gd name="T1" fmla="*/ 14 h 32"/>
                <a:gd name="T2" fmla="*/ 40 w 56"/>
                <a:gd name="T3" fmla="*/ 14 h 32"/>
                <a:gd name="T4" fmla="*/ 16 w 56"/>
                <a:gd name="T5" fmla="*/ 28 h 32"/>
                <a:gd name="T6" fmla="*/ 0 w 56"/>
                <a:gd name="T7" fmla="*/ 32 h 32"/>
                <a:gd name="T8" fmla="*/ 4 w 56"/>
                <a:gd name="T9" fmla="*/ 24 h 32"/>
                <a:gd name="T10" fmla="*/ 20 w 56"/>
                <a:gd name="T11" fmla="*/ 18 h 32"/>
                <a:gd name="T12" fmla="*/ 40 w 56"/>
                <a:gd name="T13" fmla="*/ 0 h 32"/>
                <a:gd name="T14" fmla="*/ 56 w 56"/>
                <a:gd name="T15" fmla="*/ 2 h 32"/>
                <a:gd name="T16" fmla="*/ 56 w 56"/>
                <a:gd name="T17" fmla="*/ 1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32">
                  <a:moveTo>
                    <a:pt x="56" y="14"/>
                  </a:moveTo>
                  <a:lnTo>
                    <a:pt x="40" y="14"/>
                  </a:lnTo>
                  <a:lnTo>
                    <a:pt x="16" y="28"/>
                  </a:lnTo>
                  <a:lnTo>
                    <a:pt x="0" y="32"/>
                  </a:lnTo>
                  <a:lnTo>
                    <a:pt x="4" y="24"/>
                  </a:lnTo>
                  <a:lnTo>
                    <a:pt x="20" y="18"/>
                  </a:lnTo>
                  <a:lnTo>
                    <a:pt x="40" y="0"/>
                  </a:lnTo>
                  <a:lnTo>
                    <a:pt x="56" y="2"/>
                  </a:lnTo>
                  <a:lnTo>
                    <a:pt x="56" y="14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" name="Freeform 229"/>
            <p:cNvSpPr>
              <a:spLocks/>
            </p:cNvSpPr>
            <p:nvPr/>
          </p:nvSpPr>
          <p:spPr bwMode="auto">
            <a:xfrm>
              <a:off x="7502129" y="1538904"/>
              <a:ext cx="19050" cy="26194"/>
            </a:xfrm>
            <a:custGeom>
              <a:avLst/>
              <a:gdLst>
                <a:gd name="T0" fmla="*/ 0 w 16"/>
                <a:gd name="T1" fmla="*/ 14 h 22"/>
                <a:gd name="T2" fmla="*/ 6 w 16"/>
                <a:gd name="T3" fmla="*/ 22 h 22"/>
                <a:gd name="T4" fmla="*/ 14 w 16"/>
                <a:gd name="T5" fmla="*/ 22 h 22"/>
                <a:gd name="T6" fmla="*/ 16 w 16"/>
                <a:gd name="T7" fmla="*/ 14 h 22"/>
                <a:gd name="T8" fmla="*/ 10 w 16"/>
                <a:gd name="T9" fmla="*/ 12 h 22"/>
                <a:gd name="T10" fmla="*/ 6 w 16"/>
                <a:gd name="T11" fmla="*/ 0 h 22"/>
                <a:gd name="T12" fmla="*/ 0 w 16"/>
                <a:gd name="T13" fmla="*/ 2 h 22"/>
                <a:gd name="T14" fmla="*/ 0 w 16"/>
                <a:gd name="T15" fmla="*/ 1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2">
                  <a:moveTo>
                    <a:pt x="0" y="14"/>
                  </a:moveTo>
                  <a:lnTo>
                    <a:pt x="6" y="22"/>
                  </a:lnTo>
                  <a:lnTo>
                    <a:pt x="14" y="22"/>
                  </a:lnTo>
                  <a:lnTo>
                    <a:pt x="16" y="14"/>
                  </a:lnTo>
                  <a:lnTo>
                    <a:pt x="10" y="12"/>
                  </a:lnTo>
                  <a:lnTo>
                    <a:pt x="6" y="0"/>
                  </a:lnTo>
                  <a:lnTo>
                    <a:pt x="0" y="2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" name="Freeform 230"/>
            <p:cNvSpPr>
              <a:spLocks/>
            </p:cNvSpPr>
            <p:nvPr/>
          </p:nvSpPr>
          <p:spPr bwMode="auto">
            <a:xfrm>
              <a:off x="7516417" y="1524616"/>
              <a:ext cx="14288" cy="16669"/>
            </a:xfrm>
            <a:custGeom>
              <a:avLst/>
              <a:gdLst>
                <a:gd name="T0" fmla="*/ 4 w 12"/>
                <a:gd name="T1" fmla="*/ 14 h 14"/>
                <a:gd name="T2" fmla="*/ 10 w 12"/>
                <a:gd name="T3" fmla="*/ 14 h 14"/>
                <a:gd name="T4" fmla="*/ 12 w 12"/>
                <a:gd name="T5" fmla="*/ 8 h 14"/>
                <a:gd name="T6" fmla="*/ 8 w 12"/>
                <a:gd name="T7" fmla="*/ 0 h 14"/>
                <a:gd name="T8" fmla="*/ 4 w 12"/>
                <a:gd name="T9" fmla="*/ 0 h 14"/>
                <a:gd name="T10" fmla="*/ 0 w 12"/>
                <a:gd name="T11" fmla="*/ 8 h 14"/>
                <a:gd name="T12" fmla="*/ 4 w 12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4">
                  <a:moveTo>
                    <a:pt x="4" y="14"/>
                  </a:moveTo>
                  <a:lnTo>
                    <a:pt x="10" y="14"/>
                  </a:lnTo>
                  <a:lnTo>
                    <a:pt x="12" y="8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8"/>
                  </a:lnTo>
                  <a:lnTo>
                    <a:pt x="4" y="14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" name="Freeform 231"/>
            <p:cNvSpPr>
              <a:spLocks/>
            </p:cNvSpPr>
            <p:nvPr/>
          </p:nvSpPr>
          <p:spPr bwMode="auto">
            <a:xfrm>
              <a:off x="7530704" y="1546046"/>
              <a:ext cx="9525" cy="19050"/>
            </a:xfrm>
            <a:custGeom>
              <a:avLst/>
              <a:gdLst>
                <a:gd name="T0" fmla="*/ 0 w 8"/>
                <a:gd name="T1" fmla="*/ 8 h 16"/>
                <a:gd name="T2" fmla="*/ 2 w 8"/>
                <a:gd name="T3" fmla="*/ 14 h 16"/>
                <a:gd name="T4" fmla="*/ 8 w 8"/>
                <a:gd name="T5" fmla="*/ 16 h 16"/>
                <a:gd name="T6" fmla="*/ 8 w 8"/>
                <a:gd name="T7" fmla="*/ 6 h 16"/>
                <a:gd name="T8" fmla="*/ 4 w 8"/>
                <a:gd name="T9" fmla="*/ 0 h 16"/>
                <a:gd name="T10" fmla="*/ 0 w 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6">
                  <a:moveTo>
                    <a:pt x="0" y="8"/>
                  </a:moveTo>
                  <a:lnTo>
                    <a:pt x="2" y="14"/>
                  </a:lnTo>
                  <a:lnTo>
                    <a:pt x="8" y="16"/>
                  </a:lnTo>
                  <a:lnTo>
                    <a:pt x="8" y="6"/>
                  </a:lnTo>
                  <a:lnTo>
                    <a:pt x="4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" name="Freeform 232"/>
            <p:cNvSpPr>
              <a:spLocks/>
            </p:cNvSpPr>
            <p:nvPr/>
          </p:nvSpPr>
          <p:spPr bwMode="auto">
            <a:xfrm>
              <a:off x="6166248" y="2343765"/>
              <a:ext cx="538163" cy="532210"/>
            </a:xfrm>
            <a:custGeom>
              <a:avLst/>
              <a:gdLst>
                <a:gd name="T0" fmla="*/ 26 w 452"/>
                <a:gd name="T1" fmla="*/ 302 h 447"/>
                <a:gd name="T2" fmla="*/ 38 w 452"/>
                <a:gd name="T3" fmla="*/ 278 h 447"/>
                <a:gd name="T4" fmla="*/ 44 w 452"/>
                <a:gd name="T5" fmla="*/ 228 h 447"/>
                <a:gd name="T6" fmla="*/ 58 w 452"/>
                <a:gd name="T7" fmla="*/ 242 h 447"/>
                <a:gd name="T8" fmla="*/ 72 w 452"/>
                <a:gd name="T9" fmla="*/ 234 h 447"/>
                <a:gd name="T10" fmla="*/ 70 w 452"/>
                <a:gd name="T11" fmla="*/ 212 h 447"/>
                <a:gd name="T12" fmla="*/ 74 w 452"/>
                <a:gd name="T13" fmla="*/ 190 h 447"/>
                <a:gd name="T14" fmla="*/ 94 w 452"/>
                <a:gd name="T15" fmla="*/ 168 h 447"/>
                <a:gd name="T16" fmla="*/ 116 w 452"/>
                <a:gd name="T17" fmla="*/ 166 h 447"/>
                <a:gd name="T18" fmla="*/ 148 w 452"/>
                <a:gd name="T19" fmla="*/ 120 h 447"/>
                <a:gd name="T20" fmla="*/ 148 w 452"/>
                <a:gd name="T21" fmla="*/ 102 h 447"/>
                <a:gd name="T22" fmla="*/ 150 w 452"/>
                <a:gd name="T23" fmla="*/ 94 h 447"/>
                <a:gd name="T24" fmla="*/ 158 w 452"/>
                <a:gd name="T25" fmla="*/ 42 h 447"/>
                <a:gd name="T26" fmla="*/ 156 w 452"/>
                <a:gd name="T27" fmla="*/ 24 h 447"/>
                <a:gd name="T28" fmla="*/ 148 w 452"/>
                <a:gd name="T29" fmla="*/ 4 h 447"/>
                <a:gd name="T30" fmla="*/ 160 w 452"/>
                <a:gd name="T31" fmla="*/ 0 h 447"/>
                <a:gd name="T32" fmla="*/ 278 w 452"/>
                <a:gd name="T33" fmla="*/ 100 h 447"/>
                <a:gd name="T34" fmla="*/ 304 w 452"/>
                <a:gd name="T35" fmla="*/ 150 h 447"/>
                <a:gd name="T36" fmla="*/ 324 w 452"/>
                <a:gd name="T37" fmla="*/ 122 h 447"/>
                <a:gd name="T38" fmla="*/ 344 w 452"/>
                <a:gd name="T39" fmla="*/ 108 h 447"/>
                <a:gd name="T40" fmla="*/ 350 w 452"/>
                <a:gd name="T41" fmla="*/ 102 h 447"/>
                <a:gd name="T42" fmla="*/ 368 w 452"/>
                <a:gd name="T43" fmla="*/ 110 h 447"/>
                <a:gd name="T44" fmla="*/ 382 w 452"/>
                <a:gd name="T45" fmla="*/ 104 h 447"/>
                <a:gd name="T46" fmla="*/ 382 w 452"/>
                <a:gd name="T47" fmla="*/ 98 h 447"/>
                <a:gd name="T48" fmla="*/ 394 w 452"/>
                <a:gd name="T49" fmla="*/ 92 h 447"/>
                <a:gd name="T50" fmla="*/ 422 w 452"/>
                <a:gd name="T51" fmla="*/ 90 h 447"/>
                <a:gd name="T52" fmla="*/ 438 w 452"/>
                <a:gd name="T53" fmla="*/ 90 h 447"/>
                <a:gd name="T54" fmla="*/ 436 w 452"/>
                <a:gd name="T55" fmla="*/ 98 h 447"/>
                <a:gd name="T56" fmla="*/ 440 w 452"/>
                <a:gd name="T57" fmla="*/ 100 h 447"/>
                <a:gd name="T58" fmla="*/ 442 w 452"/>
                <a:gd name="T59" fmla="*/ 106 h 447"/>
                <a:gd name="T60" fmla="*/ 452 w 452"/>
                <a:gd name="T61" fmla="*/ 120 h 447"/>
                <a:gd name="T62" fmla="*/ 392 w 452"/>
                <a:gd name="T63" fmla="*/ 114 h 447"/>
                <a:gd name="T64" fmla="*/ 376 w 452"/>
                <a:gd name="T65" fmla="*/ 180 h 447"/>
                <a:gd name="T66" fmla="*/ 364 w 452"/>
                <a:gd name="T67" fmla="*/ 186 h 447"/>
                <a:gd name="T68" fmla="*/ 342 w 452"/>
                <a:gd name="T69" fmla="*/ 202 h 447"/>
                <a:gd name="T70" fmla="*/ 300 w 452"/>
                <a:gd name="T71" fmla="*/ 256 h 447"/>
                <a:gd name="T72" fmla="*/ 284 w 452"/>
                <a:gd name="T73" fmla="*/ 244 h 447"/>
                <a:gd name="T74" fmla="*/ 274 w 452"/>
                <a:gd name="T75" fmla="*/ 282 h 447"/>
                <a:gd name="T76" fmla="*/ 266 w 452"/>
                <a:gd name="T77" fmla="*/ 302 h 447"/>
                <a:gd name="T78" fmla="*/ 240 w 452"/>
                <a:gd name="T79" fmla="*/ 368 h 447"/>
                <a:gd name="T80" fmla="*/ 240 w 452"/>
                <a:gd name="T81" fmla="*/ 383 h 447"/>
                <a:gd name="T82" fmla="*/ 228 w 452"/>
                <a:gd name="T83" fmla="*/ 403 h 447"/>
                <a:gd name="T84" fmla="*/ 200 w 452"/>
                <a:gd name="T85" fmla="*/ 413 h 447"/>
                <a:gd name="T86" fmla="*/ 186 w 452"/>
                <a:gd name="T87" fmla="*/ 413 h 447"/>
                <a:gd name="T88" fmla="*/ 186 w 452"/>
                <a:gd name="T89" fmla="*/ 423 h 447"/>
                <a:gd name="T90" fmla="*/ 140 w 452"/>
                <a:gd name="T91" fmla="*/ 427 h 447"/>
                <a:gd name="T92" fmla="*/ 116 w 452"/>
                <a:gd name="T93" fmla="*/ 447 h 447"/>
                <a:gd name="T94" fmla="*/ 84 w 452"/>
                <a:gd name="T95" fmla="*/ 431 h 447"/>
                <a:gd name="T96" fmla="*/ 76 w 452"/>
                <a:gd name="T97" fmla="*/ 419 h 447"/>
                <a:gd name="T98" fmla="*/ 76 w 452"/>
                <a:gd name="T99" fmla="*/ 411 h 447"/>
                <a:gd name="T100" fmla="*/ 54 w 452"/>
                <a:gd name="T101" fmla="*/ 401 h 447"/>
                <a:gd name="T102" fmla="*/ 38 w 452"/>
                <a:gd name="T103" fmla="*/ 385 h 447"/>
                <a:gd name="T104" fmla="*/ 20 w 452"/>
                <a:gd name="T105" fmla="*/ 362 h 447"/>
                <a:gd name="T106" fmla="*/ 6 w 452"/>
                <a:gd name="T107" fmla="*/ 330 h 447"/>
                <a:gd name="T108" fmla="*/ 2 w 452"/>
                <a:gd name="T109" fmla="*/ 310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52" h="447">
                  <a:moveTo>
                    <a:pt x="2" y="310"/>
                  </a:moveTo>
                  <a:lnTo>
                    <a:pt x="26" y="302"/>
                  </a:lnTo>
                  <a:lnTo>
                    <a:pt x="28" y="284"/>
                  </a:lnTo>
                  <a:lnTo>
                    <a:pt x="38" y="278"/>
                  </a:lnTo>
                  <a:lnTo>
                    <a:pt x="30" y="258"/>
                  </a:lnTo>
                  <a:lnTo>
                    <a:pt x="44" y="228"/>
                  </a:lnTo>
                  <a:lnTo>
                    <a:pt x="54" y="228"/>
                  </a:lnTo>
                  <a:lnTo>
                    <a:pt x="58" y="242"/>
                  </a:lnTo>
                  <a:lnTo>
                    <a:pt x="66" y="232"/>
                  </a:lnTo>
                  <a:lnTo>
                    <a:pt x="72" y="234"/>
                  </a:lnTo>
                  <a:lnTo>
                    <a:pt x="64" y="216"/>
                  </a:lnTo>
                  <a:lnTo>
                    <a:pt x="70" y="212"/>
                  </a:lnTo>
                  <a:lnTo>
                    <a:pt x="68" y="202"/>
                  </a:lnTo>
                  <a:lnTo>
                    <a:pt x="74" y="190"/>
                  </a:lnTo>
                  <a:lnTo>
                    <a:pt x="84" y="186"/>
                  </a:lnTo>
                  <a:lnTo>
                    <a:pt x="94" y="168"/>
                  </a:lnTo>
                  <a:lnTo>
                    <a:pt x="104" y="176"/>
                  </a:lnTo>
                  <a:lnTo>
                    <a:pt x="116" y="166"/>
                  </a:lnTo>
                  <a:lnTo>
                    <a:pt x="146" y="134"/>
                  </a:lnTo>
                  <a:lnTo>
                    <a:pt x="148" y="120"/>
                  </a:lnTo>
                  <a:lnTo>
                    <a:pt x="142" y="114"/>
                  </a:lnTo>
                  <a:lnTo>
                    <a:pt x="148" y="102"/>
                  </a:lnTo>
                  <a:lnTo>
                    <a:pt x="146" y="96"/>
                  </a:lnTo>
                  <a:lnTo>
                    <a:pt x="150" y="94"/>
                  </a:lnTo>
                  <a:lnTo>
                    <a:pt x="150" y="72"/>
                  </a:lnTo>
                  <a:lnTo>
                    <a:pt x="158" y="42"/>
                  </a:lnTo>
                  <a:lnTo>
                    <a:pt x="154" y="32"/>
                  </a:lnTo>
                  <a:lnTo>
                    <a:pt x="156" y="24"/>
                  </a:lnTo>
                  <a:lnTo>
                    <a:pt x="146" y="8"/>
                  </a:lnTo>
                  <a:lnTo>
                    <a:pt x="148" y="4"/>
                  </a:lnTo>
                  <a:lnTo>
                    <a:pt x="160" y="0"/>
                  </a:lnTo>
                  <a:lnTo>
                    <a:pt x="160" y="0"/>
                  </a:lnTo>
                  <a:lnTo>
                    <a:pt x="178" y="116"/>
                  </a:lnTo>
                  <a:lnTo>
                    <a:pt x="278" y="100"/>
                  </a:lnTo>
                  <a:lnTo>
                    <a:pt x="286" y="166"/>
                  </a:lnTo>
                  <a:lnTo>
                    <a:pt x="304" y="150"/>
                  </a:lnTo>
                  <a:lnTo>
                    <a:pt x="318" y="126"/>
                  </a:lnTo>
                  <a:lnTo>
                    <a:pt x="324" y="122"/>
                  </a:lnTo>
                  <a:lnTo>
                    <a:pt x="332" y="126"/>
                  </a:lnTo>
                  <a:lnTo>
                    <a:pt x="344" y="108"/>
                  </a:lnTo>
                  <a:lnTo>
                    <a:pt x="346" y="98"/>
                  </a:lnTo>
                  <a:lnTo>
                    <a:pt x="350" y="102"/>
                  </a:lnTo>
                  <a:lnTo>
                    <a:pt x="350" y="106"/>
                  </a:lnTo>
                  <a:lnTo>
                    <a:pt x="368" y="110"/>
                  </a:lnTo>
                  <a:lnTo>
                    <a:pt x="378" y="108"/>
                  </a:lnTo>
                  <a:lnTo>
                    <a:pt x="382" y="104"/>
                  </a:lnTo>
                  <a:lnTo>
                    <a:pt x="378" y="100"/>
                  </a:lnTo>
                  <a:lnTo>
                    <a:pt x="382" y="98"/>
                  </a:lnTo>
                  <a:lnTo>
                    <a:pt x="380" y="96"/>
                  </a:lnTo>
                  <a:lnTo>
                    <a:pt x="394" y="92"/>
                  </a:lnTo>
                  <a:lnTo>
                    <a:pt x="402" y="82"/>
                  </a:lnTo>
                  <a:lnTo>
                    <a:pt x="422" y="90"/>
                  </a:lnTo>
                  <a:lnTo>
                    <a:pt x="436" y="86"/>
                  </a:lnTo>
                  <a:lnTo>
                    <a:pt x="438" y="90"/>
                  </a:lnTo>
                  <a:lnTo>
                    <a:pt x="434" y="94"/>
                  </a:lnTo>
                  <a:lnTo>
                    <a:pt x="436" y="98"/>
                  </a:lnTo>
                  <a:lnTo>
                    <a:pt x="440" y="96"/>
                  </a:lnTo>
                  <a:lnTo>
                    <a:pt x="440" y="100"/>
                  </a:lnTo>
                  <a:lnTo>
                    <a:pt x="446" y="100"/>
                  </a:lnTo>
                  <a:lnTo>
                    <a:pt x="442" y="106"/>
                  </a:lnTo>
                  <a:lnTo>
                    <a:pt x="450" y="110"/>
                  </a:lnTo>
                  <a:lnTo>
                    <a:pt x="452" y="120"/>
                  </a:lnTo>
                  <a:lnTo>
                    <a:pt x="446" y="144"/>
                  </a:lnTo>
                  <a:lnTo>
                    <a:pt x="392" y="114"/>
                  </a:lnTo>
                  <a:lnTo>
                    <a:pt x="390" y="154"/>
                  </a:lnTo>
                  <a:lnTo>
                    <a:pt x="376" y="180"/>
                  </a:lnTo>
                  <a:lnTo>
                    <a:pt x="368" y="188"/>
                  </a:lnTo>
                  <a:lnTo>
                    <a:pt x="364" y="186"/>
                  </a:lnTo>
                  <a:lnTo>
                    <a:pt x="356" y="208"/>
                  </a:lnTo>
                  <a:lnTo>
                    <a:pt x="342" y="202"/>
                  </a:lnTo>
                  <a:lnTo>
                    <a:pt x="322" y="260"/>
                  </a:lnTo>
                  <a:lnTo>
                    <a:pt x="300" y="256"/>
                  </a:lnTo>
                  <a:lnTo>
                    <a:pt x="294" y="246"/>
                  </a:lnTo>
                  <a:lnTo>
                    <a:pt x="284" y="244"/>
                  </a:lnTo>
                  <a:lnTo>
                    <a:pt x="282" y="266"/>
                  </a:lnTo>
                  <a:lnTo>
                    <a:pt x="274" y="282"/>
                  </a:lnTo>
                  <a:lnTo>
                    <a:pt x="276" y="288"/>
                  </a:lnTo>
                  <a:lnTo>
                    <a:pt x="266" y="302"/>
                  </a:lnTo>
                  <a:lnTo>
                    <a:pt x="262" y="322"/>
                  </a:lnTo>
                  <a:lnTo>
                    <a:pt x="240" y="368"/>
                  </a:lnTo>
                  <a:lnTo>
                    <a:pt x="248" y="373"/>
                  </a:lnTo>
                  <a:lnTo>
                    <a:pt x="240" y="383"/>
                  </a:lnTo>
                  <a:lnTo>
                    <a:pt x="244" y="387"/>
                  </a:lnTo>
                  <a:lnTo>
                    <a:pt x="228" y="403"/>
                  </a:lnTo>
                  <a:lnTo>
                    <a:pt x="220" y="399"/>
                  </a:lnTo>
                  <a:lnTo>
                    <a:pt x="200" y="413"/>
                  </a:lnTo>
                  <a:lnTo>
                    <a:pt x="188" y="409"/>
                  </a:lnTo>
                  <a:lnTo>
                    <a:pt x="186" y="413"/>
                  </a:lnTo>
                  <a:lnTo>
                    <a:pt x="190" y="419"/>
                  </a:lnTo>
                  <a:lnTo>
                    <a:pt x="186" y="423"/>
                  </a:lnTo>
                  <a:lnTo>
                    <a:pt x="156" y="437"/>
                  </a:lnTo>
                  <a:lnTo>
                    <a:pt x="140" y="427"/>
                  </a:lnTo>
                  <a:lnTo>
                    <a:pt x="136" y="435"/>
                  </a:lnTo>
                  <a:lnTo>
                    <a:pt x="116" y="447"/>
                  </a:lnTo>
                  <a:lnTo>
                    <a:pt x="94" y="439"/>
                  </a:lnTo>
                  <a:lnTo>
                    <a:pt x="84" y="431"/>
                  </a:lnTo>
                  <a:lnTo>
                    <a:pt x="82" y="423"/>
                  </a:lnTo>
                  <a:lnTo>
                    <a:pt x="76" y="419"/>
                  </a:lnTo>
                  <a:lnTo>
                    <a:pt x="80" y="413"/>
                  </a:lnTo>
                  <a:lnTo>
                    <a:pt x="76" y="411"/>
                  </a:lnTo>
                  <a:lnTo>
                    <a:pt x="60" y="409"/>
                  </a:lnTo>
                  <a:lnTo>
                    <a:pt x="54" y="401"/>
                  </a:lnTo>
                  <a:lnTo>
                    <a:pt x="42" y="397"/>
                  </a:lnTo>
                  <a:lnTo>
                    <a:pt x="38" y="385"/>
                  </a:lnTo>
                  <a:lnTo>
                    <a:pt x="20" y="368"/>
                  </a:lnTo>
                  <a:lnTo>
                    <a:pt x="20" y="36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2" y="310"/>
                  </a:lnTo>
                  <a:lnTo>
                    <a:pt x="2" y="31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" name="Freeform 233"/>
            <p:cNvSpPr>
              <a:spLocks/>
            </p:cNvSpPr>
            <p:nvPr/>
          </p:nvSpPr>
          <p:spPr bwMode="auto">
            <a:xfrm>
              <a:off x="5289948" y="2956938"/>
              <a:ext cx="1023938" cy="350044"/>
            </a:xfrm>
            <a:custGeom>
              <a:avLst/>
              <a:gdLst>
                <a:gd name="T0" fmla="*/ 858 w 860"/>
                <a:gd name="T1" fmla="*/ 0 h 294"/>
                <a:gd name="T2" fmla="*/ 656 w 860"/>
                <a:gd name="T3" fmla="*/ 26 h 294"/>
                <a:gd name="T4" fmla="*/ 370 w 860"/>
                <a:gd name="T5" fmla="*/ 56 h 294"/>
                <a:gd name="T6" fmla="*/ 366 w 860"/>
                <a:gd name="T7" fmla="*/ 62 h 294"/>
                <a:gd name="T8" fmla="*/ 238 w 860"/>
                <a:gd name="T9" fmla="*/ 72 h 294"/>
                <a:gd name="T10" fmla="*/ 236 w 860"/>
                <a:gd name="T11" fmla="*/ 68 h 294"/>
                <a:gd name="T12" fmla="*/ 214 w 860"/>
                <a:gd name="T13" fmla="*/ 68 h 294"/>
                <a:gd name="T14" fmla="*/ 220 w 860"/>
                <a:gd name="T15" fmla="*/ 92 h 294"/>
                <a:gd name="T16" fmla="*/ 78 w 860"/>
                <a:gd name="T17" fmla="*/ 100 h 294"/>
                <a:gd name="T18" fmla="*/ 76 w 860"/>
                <a:gd name="T19" fmla="*/ 108 h 294"/>
                <a:gd name="T20" fmla="*/ 72 w 860"/>
                <a:gd name="T21" fmla="*/ 94 h 294"/>
                <a:gd name="T22" fmla="*/ 66 w 860"/>
                <a:gd name="T23" fmla="*/ 96 h 294"/>
                <a:gd name="T24" fmla="*/ 70 w 860"/>
                <a:gd name="T25" fmla="*/ 116 h 294"/>
                <a:gd name="T26" fmla="*/ 60 w 860"/>
                <a:gd name="T27" fmla="*/ 124 h 294"/>
                <a:gd name="T28" fmla="*/ 68 w 860"/>
                <a:gd name="T29" fmla="*/ 132 h 294"/>
                <a:gd name="T30" fmla="*/ 56 w 860"/>
                <a:gd name="T31" fmla="*/ 134 h 294"/>
                <a:gd name="T32" fmla="*/ 64 w 860"/>
                <a:gd name="T33" fmla="*/ 148 h 294"/>
                <a:gd name="T34" fmla="*/ 52 w 860"/>
                <a:gd name="T35" fmla="*/ 166 h 294"/>
                <a:gd name="T36" fmla="*/ 60 w 860"/>
                <a:gd name="T37" fmla="*/ 178 h 294"/>
                <a:gd name="T38" fmla="*/ 48 w 860"/>
                <a:gd name="T39" fmla="*/ 180 h 294"/>
                <a:gd name="T40" fmla="*/ 54 w 860"/>
                <a:gd name="T41" fmla="*/ 186 h 294"/>
                <a:gd name="T42" fmla="*/ 52 w 860"/>
                <a:gd name="T43" fmla="*/ 190 h 294"/>
                <a:gd name="T44" fmla="*/ 32 w 860"/>
                <a:gd name="T45" fmla="*/ 202 h 294"/>
                <a:gd name="T46" fmla="*/ 38 w 860"/>
                <a:gd name="T47" fmla="*/ 212 h 294"/>
                <a:gd name="T48" fmla="*/ 32 w 860"/>
                <a:gd name="T49" fmla="*/ 218 h 294"/>
                <a:gd name="T50" fmla="*/ 36 w 860"/>
                <a:gd name="T51" fmla="*/ 226 h 294"/>
                <a:gd name="T52" fmla="*/ 28 w 860"/>
                <a:gd name="T53" fmla="*/ 228 h 294"/>
                <a:gd name="T54" fmla="*/ 18 w 860"/>
                <a:gd name="T55" fmla="*/ 250 h 294"/>
                <a:gd name="T56" fmla="*/ 22 w 860"/>
                <a:gd name="T57" fmla="*/ 278 h 294"/>
                <a:gd name="T58" fmla="*/ 12 w 860"/>
                <a:gd name="T59" fmla="*/ 280 h 294"/>
                <a:gd name="T60" fmla="*/ 10 w 860"/>
                <a:gd name="T61" fmla="*/ 288 h 294"/>
                <a:gd name="T62" fmla="*/ 0 w 860"/>
                <a:gd name="T63" fmla="*/ 294 h 294"/>
                <a:gd name="T64" fmla="*/ 218 w 860"/>
                <a:gd name="T65" fmla="*/ 280 h 294"/>
                <a:gd name="T66" fmla="*/ 482 w 860"/>
                <a:gd name="T67" fmla="*/ 258 h 294"/>
                <a:gd name="T68" fmla="*/ 616 w 860"/>
                <a:gd name="T69" fmla="*/ 244 h 294"/>
                <a:gd name="T70" fmla="*/ 616 w 860"/>
                <a:gd name="T71" fmla="*/ 216 h 294"/>
                <a:gd name="T72" fmla="*/ 620 w 860"/>
                <a:gd name="T73" fmla="*/ 210 h 294"/>
                <a:gd name="T74" fmla="*/ 636 w 860"/>
                <a:gd name="T75" fmla="*/ 210 h 294"/>
                <a:gd name="T76" fmla="*/ 642 w 860"/>
                <a:gd name="T77" fmla="*/ 188 h 294"/>
                <a:gd name="T78" fmla="*/ 654 w 860"/>
                <a:gd name="T79" fmla="*/ 176 h 294"/>
                <a:gd name="T80" fmla="*/ 666 w 860"/>
                <a:gd name="T81" fmla="*/ 168 h 294"/>
                <a:gd name="T82" fmla="*/ 692 w 860"/>
                <a:gd name="T83" fmla="*/ 164 h 294"/>
                <a:gd name="T84" fmla="*/ 722 w 860"/>
                <a:gd name="T85" fmla="*/ 136 h 294"/>
                <a:gd name="T86" fmla="*/ 740 w 860"/>
                <a:gd name="T87" fmla="*/ 130 h 294"/>
                <a:gd name="T88" fmla="*/ 746 w 860"/>
                <a:gd name="T89" fmla="*/ 116 h 294"/>
                <a:gd name="T90" fmla="*/ 746 w 860"/>
                <a:gd name="T91" fmla="*/ 108 h 294"/>
                <a:gd name="T92" fmla="*/ 756 w 860"/>
                <a:gd name="T93" fmla="*/ 110 h 294"/>
                <a:gd name="T94" fmla="*/ 758 w 860"/>
                <a:gd name="T95" fmla="*/ 100 h 294"/>
                <a:gd name="T96" fmla="*/ 772 w 860"/>
                <a:gd name="T97" fmla="*/ 90 h 294"/>
                <a:gd name="T98" fmla="*/ 780 w 860"/>
                <a:gd name="T99" fmla="*/ 102 h 294"/>
                <a:gd name="T100" fmla="*/ 804 w 860"/>
                <a:gd name="T101" fmla="*/ 76 h 294"/>
                <a:gd name="T102" fmla="*/ 812 w 860"/>
                <a:gd name="T103" fmla="*/ 72 h 294"/>
                <a:gd name="T104" fmla="*/ 828 w 860"/>
                <a:gd name="T105" fmla="*/ 78 h 294"/>
                <a:gd name="T106" fmla="*/ 840 w 860"/>
                <a:gd name="T107" fmla="*/ 50 h 294"/>
                <a:gd name="T108" fmla="*/ 850 w 860"/>
                <a:gd name="T109" fmla="*/ 42 h 294"/>
                <a:gd name="T110" fmla="*/ 860 w 860"/>
                <a:gd name="T111" fmla="*/ 42 h 294"/>
                <a:gd name="T112" fmla="*/ 854 w 860"/>
                <a:gd name="T113" fmla="*/ 36 h 294"/>
                <a:gd name="T114" fmla="*/ 858 w 860"/>
                <a:gd name="T115" fmla="*/ 24 h 294"/>
                <a:gd name="T116" fmla="*/ 856 w 860"/>
                <a:gd name="T117" fmla="*/ 18 h 294"/>
                <a:gd name="T118" fmla="*/ 858 w 860"/>
                <a:gd name="T119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60" h="294">
                  <a:moveTo>
                    <a:pt x="858" y="0"/>
                  </a:moveTo>
                  <a:lnTo>
                    <a:pt x="656" y="26"/>
                  </a:lnTo>
                  <a:lnTo>
                    <a:pt x="370" y="56"/>
                  </a:lnTo>
                  <a:lnTo>
                    <a:pt x="366" y="62"/>
                  </a:lnTo>
                  <a:lnTo>
                    <a:pt x="238" y="72"/>
                  </a:lnTo>
                  <a:lnTo>
                    <a:pt x="236" y="68"/>
                  </a:lnTo>
                  <a:lnTo>
                    <a:pt x="214" y="68"/>
                  </a:lnTo>
                  <a:lnTo>
                    <a:pt x="220" y="92"/>
                  </a:lnTo>
                  <a:lnTo>
                    <a:pt x="78" y="100"/>
                  </a:lnTo>
                  <a:lnTo>
                    <a:pt x="76" y="108"/>
                  </a:lnTo>
                  <a:lnTo>
                    <a:pt x="72" y="94"/>
                  </a:lnTo>
                  <a:lnTo>
                    <a:pt x="66" y="96"/>
                  </a:lnTo>
                  <a:lnTo>
                    <a:pt x="70" y="116"/>
                  </a:lnTo>
                  <a:lnTo>
                    <a:pt x="60" y="124"/>
                  </a:lnTo>
                  <a:lnTo>
                    <a:pt x="68" y="132"/>
                  </a:lnTo>
                  <a:lnTo>
                    <a:pt x="56" y="134"/>
                  </a:lnTo>
                  <a:lnTo>
                    <a:pt x="64" y="148"/>
                  </a:lnTo>
                  <a:lnTo>
                    <a:pt x="52" y="166"/>
                  </a:lnTo>
                  <a:lnTo>
                    <a:pt x="60" y="178"/>
                  </a:lnTo>
                  <a:lnTo>
                    <a:pt x="48" y="180"/>
                  </a:lnTo>
                  <a:lnTo>
                    <a:pt x="54" y="186"/>
                  </a:lnTo>
                  <a:lnTo>
                    <a:pt x="52" y="190"/>
                  </a:lnTo>
                  <a:lnTo>
                    <a:pt x="32" y="202"/>
                  </a:lnTo>
                  <a:lnTo>
                    <a:pt x="38" y="212"/>
                  </a:lnTo>
                  <a:lnTo>
                    <a:pt x="32" y="218"/>
                  </a:lnTo>
                  <a:lnTo>
                    <a:pt x="36" y="226"/>
                  </a:lnTo>
                  <a:lnTo>
                    <a:pt x="28" y="228"/>
                  </a:lnTo>
                  <a:lnTo>
                    <a:pt x="18" y="250"/>
                  </a:lnTo>
                  <a:lnTo>
                    <a:pt x="22" y="278"/>
                  </a:lnTo>
                  <a:lnTo>
                    <a:pt x="12" y="280"/>
                  </a:lnTo>
                  <a:lnTo>
                    <a:pt x="10" y="288"/>
                  </a:lnTo>
                  <a:lnTo>
                    <a:pt x="0" y="294"/>
                  </a:lnTo>
                  <a:lnTo>
                    <a:pt x="218" y="280"/>
                  </a:lnTo>
                  <a:lnTo>
                    <a:pt x="482" y="258"/>
                  </a:lnTo>
                  <a:lnTo>
                    <a:pt x="616" y="244"/>
                  </a:lnTo>
                  <a:lnTo>
                    <a:pt x="616" y="216"/>
                  </a:lnTo>
                  <a:lnTo>
                    <a:pt x="620" y="210"/>
                  </a:lnTo>
                  <a:lnTo>
                    <a:pt x="636" y="210"/>
                  </a:lnTo>
                  <a:lnTo>
                    <a:pt x="642" y="188"/>
                  </a:lnTo>
                  <a:lnTo>
                    <a:pt x="654" y="176"/>
                  </a:lnTo>
                  <a:lnTo>
                    <a:pt x="666" y="168"/>
                  </a:lnTo>
                  <a:lnTo>
                    <a:pt x="692" y="164"/>
                  </a:lnTo>
                  <a:lnTo>
                    <a:pt x="722" y="136"/>
                  </a:lnTo>
                  <a:lnTo>
                    <a:pt x="740" y="130"/>
                  </a:lnTo>
                  <a:lnTo>
                    <a:pt x="746" y="116"/>
                  </a:lnTo>
                  <a:lnTo>
                    <a:pt x="746" y="108"/>
                  </a:lnTo>
                  <a:lnTo>
                    <a:pt x="756" y="110"/>
                  </a:lnTo>
                  <a:lnTo>
                    <a:pt x="758" y="100"/>
                  </a:lnTo>
                  <a:lnTo>
                    <a:pt x="772" y="90"/>
                  </a:lnTo>
                  <a:lnTo>
                    <a:pt x="780" y="102"/>
                  </a:lnTo>
                  <a:lnTo>
                    <a:pt x="804" y="76"/>
                  </a:lnTo>
                  <a:lnTo>
                    <a:pt x="812" y="72"/>
                  </a:lnTo>
                  <a:lnTo>
                    <a:pt x="828" y="78"/>
                  </a:lnTo>
                  <a:lnTo>
                    <a:pt x="840" y="50"/>
                  </a:lnTo>
                  <a:lnTo>
                    <a:pt x="850" y="42"/>
                  </a:lnTo>
                  <a:lnTo>
                    <a:pt x="860" y="42"/>
                  </a:lnTo>
                  <a:lnTo>
                    <a:pt x="854" y="36"/>
                  </a:lnTo>
                  <a:lnTo>
                    <a:pt x="858" y="24"/>
                  </a:lnTo>
                  <a:lnTo>
                    <a:pt x="856" y="18"/>
                  </a:lnTo>
                  <a:lnTo>
                    <a:pt x="858" y="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" name="Freeform 234"/>
            <p:cNvSpPr>
              <a:spLocks/>
            </p:cNvSpPr>
            <p:nvPr/>
          </p:nvSpPr>
          <p:spPr bwMode="auto">
            <a:xfrm>
              <a:off x="5668566" y="3840382"/>
              <a:ext cx="1073944" cy="823913"/>
            </a:xfrm>
            <a:custGeom>
              <a:avLst/>
              <a:gdLst>
                <a:gd name="T0" fmla="*/ 42 w 902"/>
                <a:gd name="T1" fmla="*/ 102 h 692"/>
                <a:gd name="T2" fmla="*/ 62 w 902"/>
                <a:gd name="T3" fmla="*/ 90 h 692"/>
                <a:gd name="T4" fmla="*/ 66 w 902"/>
                <a:gd name="T5" fmla="*/ 96 h 692"/>
                <a:gd name="T6" fmla="*/ 140 w 902"/>
                <a:gd name="T7" fmla="*/ 94 h 692"/>
                <a:gd name="T8" fmla="*/ 148 w 902"/>
                <a:gd name="T9" fmla="*/ 102 h 692"/>
                <a:gd name="T10" fmla="*/ 144 w 902"/>
                <a:gd name="T11" fmla="*/ 108 h 692"/>
                <a:gd name="T12" fmla="*/ 256 w 902"/>
                <a:gd name="T13" fmla="*/ 172 h 692"/>
                <a:gd name="T14" fmla="*/ 322 w 902"/>
                <a:gd name="T15" fmla="*/ 162 h 692"/>
                <a:gd name="T16" fmla="*/ 360 w 902"/>
                <a:gd name="T17" fmla="*/ 142 h 692"/>
                <a:gd name="T18" fmla="*/ 362 w 902"/>
                <a:gd name="T19" fmla="*/ 130 h 692"/>
                <a:gd name="T20" fmla="*/ 400 w 902"/>
                <a:gd name="T21" fmla="*/ 118 h 692"/>
                <a:gd name="T22" fmla="*/ 458 w 902"/>
                <a:gd name="T23" fmla="*/ 156 h 692"/>
                <a:gd name="T24" fmla="*/ 472 w 902"/>
                <a:gd name="T25" fmla="*/ 180 h 692"/>
                <a:gd name="T26" fmla="*/ 506 w 902"/>
                <a:gd name="T27" fmla="*/ 206 h 692"/>
                <a:gd name="T28" fmla="*/ 552 w 902"/>
                <a:gd name="T29" fmla="*/ 226 h 692"/>
                <a:gd name="T30" fmla="*/ 572 w 902"/>
                <a:gd name="T31" fmla="*/ 384 h 692"/>
                <a:gd name="T32" fmla="*/ 580 w 902"/>
                <a:gd name="T33" fmla="*/ 364 h 692"/>
                <a:gd name="T34" fmla="*/ 600 w 902"/>
                <a:gd name="T35" fmla="*/ 372 h 692"/>
                <a:gd name="T36" fmla="*/ 598 w 902"/>
                <a:gd name="T37" fmla="*/ 438 h 692"/>
                <a:gd name="T38" fmla="*/ 650 w 902"/>
                <a:gd name="T39" fmla="*/ 496 h 692"/>
                <a:gd name="T40" fmla="*/ 674 w 902"/>
                <a:gd name="T41" fmla="*/ 522 h 692"/>
                <a:gd name="T42" fmla="*/ 686 w 902"/>
                <a:gd name="T43" fmla="*/ 518 h 692"/>
                <a:gd name="T44" fmla="*/ 680 w 902"/>
                <a:gd name="T45" fmla="*/ 536 h 692"/>
                <a:gd name="T46" fmla="*/ 720 w 902"/>
                <a:gd name="T47" fmla="*/ 598 h 692"/>
                <a:gd name="T48" fmla="*/ 750 w 902"/>
                <a:gd name="T49" fmla="*/ 606 h 692"/>
                <a:gd name="T50" fmla="*/ 792 w 902"/>
                <a:gd name="T51" fmla="*/ 658 h 692"/>
                <a:gd name="T52" fmla="*/ 796 w 902"/>
                <a:gd name="T53" fmla="*/ 688 h 692"/>
                <a:gd name="T54" fmla="*/ 852 w 902"/>
                <a:gd name="T55" fmla="*/ 680 h 692"/>
                <a:gd name="T56" fmla="*/ 894 w 902"/>
                <a:gd name="T57" fmla="*/ 670 h 692"/>
                <a:gd name="T58" fmla="*/ 890 w 902"/>
                <a:gd name="T59" fmla="*/ 646 h 692"/>
                <a:gd name="T60" fmla="*/ 886 w 902"/>
                <a:gd name="T61" fmla="*/ 452 h 692"/>
                <a:gd name="T62" fmla="*/ 796 w 902"/>
                <a:gd name="T63" fmla="*/ 260 h 692"/>
                <a:gd name="T64" fmla="*/ 660 w 902"/>
                <a:gd name="T65" fmla="*/ 18 h 692"/>
                <a:gd name="T66" fmla="*/ 612 w 902"/>
                <a:gd name="T67" fmla="*/ 0 h 692"/>
                <a:gd name="T68" fmla="*/ 612 w 902"/>
                <a:gd name="T69" fmla="*/ 32 h 692"/>
                <a:gd name="T70" fmla="*/ 598 w 902"/>
                <a:gd name="T71" fmla="*/ 58 h 692"/>
                <a:gd name="T72" fmla="*/ 588 w 902"/>
                <a:gd name="T73" fmla="*/ 34 h 692"/>
                <a:gd name="T74" fmla="*/ 288 w 902"/>
                <a:gd name="T75" fmla="*/ 38 h 692"/>
                <a:gd name="T76" fmla="*/ 0 w 902"/>
                <a:gd name="T77" fmla="*/ 42 h 692"/>
                <a:gd name="T78" fmla="*/ 26 w 902"/>
                <a:gd name="T79" fmla="*/ 84 h 692"/>
                <a:gd name="T80" fmla="*/ 26 w 902"/>
                <a:gd name="T81" fmla="*/ 120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02" h="692">
                  <a:moveTo>
                    <a:pt x="26" y="120"/>
                  </a:moveTo>
                  <a:lnTo>
                    <a:pt x="42" y="102"/>
                  </a:lnTo>
                  <a:lnTo>
                    <a:pt x="52" y="100"/>
                  </a:lnTo>
                  <a:lnTo>
                    <a:pt x="62" y="90"/>
                  </a:lnTo>
                  <a:lnTo>
                    <a:pt x="64" y="90"/>
                  </a:lnTo>
                  <a:lnTo>
                    <a:pt x="66" y="96"/>
                  </a:lnTo>
                  <a:lnTo>
                    <a:pt x="60" y="110"/>
                  </a:lnTo>
                  <a:lnTo>
                    <a:pt x="140" y="94"/>
                  </a:lnTo>
                  <a:lnTo>
                    <a:pt x="150" y="96"/>
                  </a:lnTo>
                  <a:lnTo>
                    <a:pt x="148" y="102"/>
                  </a:lnTo>
                  <a:lnTo>
                    <a:pt x="142" y="106"/>
                  </a:lnTo>
                  <a:lnTo>
                    <a:pt x="144" y="108"/>
                  </a:lnTo>
                  <a:lnTo>
                    <a:pt x="234" y="146"/>
                  </a:lnTo>
                  <a:lnTo>
                    <a:pt x="256" y="172"/>
                  </a:lnTo>
                  <a:lnTo>
                    <a:pt x="266" y="178"/>
                  </a:lnTo>
                  <a:lnTo>
                    <a:pt x="322" y="162"/>
                  </a:lnTo>
                  <a:lnTo>
                    <a:pt x="348" y="144"/>
                  </a:lnTo>
                  <a:lnTo>
                    <a:pt x="360" y="142"/>
                  </a:lnTo>
                  <a:lnTo>
                    <a:pt x="362" y="140"/>
                  </a:lnTo>
                  <a:lnTo>
                    <a:pt x="362" y="130"/>
                  </a:lnTo>
                  <a:lnTo>
                    <a:pt x="372" y="122"/>
                  </a:lnTo>
                  <a:lnTo>
                    <a:pt x="400" y="118"/>
                  </a:lnTo>
                  <a:lnTo>
                    <a:pt x="420" y="124"/>
                  </a:lnTo>
                  <a:lnTo>
                    <a:pt x="458" y="156"/>
                  </a:lnTo>
                  <a:lnTo>
                    <a:pt x="468" y="160"/>
                  </a:lnTo>
                  <a:lnTo>
                    <a:pt x="472" y="180"/>
                  </a:lnTo>
                  <a:lnTo>
                    <a:pt x="482" y="184"/>
                  </a:lnTo>
                  <a:lnTo>
                    <a:pt x="506" y="206"/>
                  </a:lnTo>
                  <a:lnTo>
                    <a:pt x="546" y="220"/>
                  </a:lnTo>
                  <a:lnTo>
                    <a:pt x="552" y="226"/>
                  </a:lnTo>
                  <a:lnTo>
                    <a:pt x="570" y="382"/>
                  </a:lnTo>
                  <a:lnTo>
                    <a:pt x="572" y="384"/>
                  </a:lnTo>
                  <a:lnTo>
                    <a:pt x="582" y="382"/>
                  </a:lnTo>
                  <a:lnTo>
                    <a:pt x="580" y="364"/>
                  </a:lnTo>
                  <a:lnTo>
                    <a:pt x="590" y="366"/>
                  </a:lnTo>
                  <a:lnTo>
                    <a:pt x="600" y="372"/>
                  </a:lnTo>
                  <a:lnTo>
                    <a:pt x="592" y="418"/>
                  </a:lnTo>
                  <a:lnTo>
                    <a:pt x="598" y="438"/>
                  </a:lnTo>
                  <a:lnTo>
                    <a:pt x="646" y="494"/>
                  </a:lnTo>
                  <a:lnTo>
                    <a:pt x="650" y="496"/>
                  </a:lnTo>
                  <a:lnTo>
                    <a:pt x="664" y="488"/>
                  </a:lnTo>
                  <a:lnTo>
                    <a:pt x="674" y="522"/>
                  </a:lnTo>
                  <a:lnTo>
                    <a:pt x="684" y="518"/>
                  </a:lnTo>
                  <a:lnTo>
                    <a:pt x="686" y="518"/>
                  </a:lnTo>
                  <a:lnTo>
                    <a:pt x="682" y="530"/>
                  </a:lnTo>
                  <a:lnTo>
                    <a:pt x="680" y="536"/>
                  </a:lnTo>
                  <a:lnTo>
                    <a:pt x="702" y="560"/>
                  </a:lnTo>
                  <a:lnTo>
                    <a:pt x="720" y="598"/>
                  </a:lnTo>
                  <a:lnTo>
                    <a:pt x="732" y="608"/>
                  </a:lnTo>
                  <a:lnTo>
                    <a:pt x="750" y="606"/>
                  </a:lnTo>
                  <a:lnTo>
                    <a:pt x="764" y="616"/>
                  </a:lnTo>
                  <a:lnTo>
                    <a:pt x="792" y="658"/>
                  </a:lnTo>
                  <a:lnTo>
                    <a:pt x="794" y="684"/>
                  </a:lnTo>
                  <a:lnTo>
                    <a:pt x="796" y="688"/>
                  </a:lnTo>
                  <a:lnTo>
                    <a:pt x="806" y="692"/>
                  </a:lnTo>
                  <a:lnTo>
                    <a:pt x="852" y="680"/>
                  </a:lnTo>
                  <a:lnTo>
                    <a:pt x="876" y="664"/>
                  </a:lnTo>
                  <a:lnTo>
                    <a:pt x="894" y="670"/>
                  </a:lnTo>
                  <a:lnTo>
                    <a:pt x="902" y="652"/>
                  </a:lnTo>
                  <a:lnTo>
                    <a:pt x="890" y="646"/>
                  </a:lnTo>
                  <a:lnTo>
                    <a:pt x="902" y="560"/>
                  </a:lnTo>
                  <a:lnTo>
                    <a:pt x="886" y="452"/>
                  </a:lnTo>
                  <a:lnTo>
                    <a:pt x="804" y="312"/>
                  </a:lnTo>
                  <a:lnTo>
                    <a:pt x="796" y="260"/>
                  </a:lnTo>
                  <a:lnTo>
                    <a:pt x="732" y="182"/>
                  </a:lnTo>
                  <a:lnTo>
                    <a:pt x="660" y="18"/>
                  </a:lnTo>
                  <a:lnTo>
                    <a:pt x="662" y="4"/>
                  </a:lnTo>
                  <a:lnTo>
                    <a:pt x="612" y="0"/>
                  </a:lnTo>
                  <a:lnTo>
                    <a:pt x="604" y="10"/>
                  </a:lnTo>
                  <a:lnTo>
                    <a:pt x="612" y="32"/>
                  </a:lnTo>
                  <a:lnTo>
                    <a:pt x="610" y="56"/>
                  </a:lnTo>
                  <a:lnTo>
                    <a:pt x="598" y="58"/>
                  </a:lnTo>
                  <a:lnTo>
                    <a:pt x="592" y="52"/>
                  </a:lnTo>
                  <a:lnTo>
                    <a:pt x="588" y="34"/>
                  </a:lnTo>
                  <a:lnTo>
                    <a:pt x="300" y="50"/>
                  </a:lnTo>
                  <a:lnTo>
                    <a:pt x="288" y="38"/>
                  </a:lnTo>
                  <a:lnTo>
                    <a:pt x="280" y="16"/>
                  </a:lnTo>
                  <a:lnTo>
                    <a:pt x="0" y="42"/>
                  </a:lnTo>
                  <a:lnTo>
                    <a:pt x="0" y="60"/>
                  </a:lnTo>
                  <a:lnTo>
                    <a:pt x="26" y="84"/>
                  </a:lnTo>
                  <a:lnTo>
                    <a:pt x="22" y="100"/>
                  </a:lnTo>
                  <a:lnTo>
                    <a:pt x="26" y="12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" name="Freeform 235"/>
            <p:cNvSpPr>
              <a:spLocks/>
            </p:cNvSpPr>
            <p:nvPr/>
          </p:nvSpPr>
          <p:spPr bwMode="auto">
            <a:xfrm>
              <a:off x="6913960" y="2360435"/>
              <a:ext cx="128588" cy="211931"/>
            </a:xfrm>
            <a:custGeom>
              <a:avLst/>
              <a:gdLst>
                <a:gd name="T0" fmla="*/ 0 w 108"/>
                <a:gd name="T1" fmla="*/ 20 h 178"/>
                <a:gd name="T2" fmla="*/ 10 w 108"/>
                <a:gd name="T3" fmla="*/ 2 h 178"/>
                <a:gd name="T4" fmla="*/ 22 w 108"/>
                <a:gd name="T5" fmla="*/ 0 h 178"/>
                <a:gd name="T6" fmla="*/ 36 w 108"/>
                <a:gd name="T7" fmla="*/ 4 h 178"/>
                <a:gd name="T8" fmla="*/ 30 w 108"/>
                <a:gd name="T9" fmla="*/ 10 h 178"/>
                <a:gd name="T10" fmla="*/ 24 w 108"/>
                <a:gd name="T11" fmla="*/ 28 h 178"/>
                <a:gd name="T12" fmla="*/ 30 w 108"/>
                <a:gd name="T13" fmla="*/ 36 h 178"/>
                <a:gd name="T14" fmla="*/ 30 w 108"/>
                <a:gd name="T15" fmla="*/ 48 h 178"/>
                <a:gd name="T16" fmla="*/ 108 w 108"/>
                <a:gd name="T17" fmla="*/ 152 h 178"/>
                <a:gd name="T18" fmla="*/ 104 w 108"/>
                <a:gd name="T19" fmla="*/ 164 h 178"/>
                <a:gd name="T20" fmla="*/ 40 w 108"/>
                <a:gd name="T21" fmla="*/ 178 h 178"/>
                <a:gd name="T22" fmla="*/ 0 w 108"/>
                <a:gd name="T23" fmla="*/ 2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" h="178">
                  <a:moveTo>
                    <a:pt x="0" y="20"/>
                  </a:moveTo>
                  <a:lnTo>
                    <a:pt x="10" y="2"/>
                  </a:lnTo>
                  <a:lnTo>
                    <a:pt x="22" y="0"/>
                  </a:lnTo>
                  <a:lnTo>
                    <a:pt x="36" y="4"/>
                  </a:lnTo>
                  <a:lnTo>
                    <a:pt x="30" y="10"/>
                  </a:lnTo>
                  <a:lnTo>
                    <a:pt x="24" y="28"/>
                  </a:lnTo>
                  <a:lnTo>
                    <a:pt x="30" y="36"/>
                  </a:lnTo>
                  <a:lnTo>
                    <a:pt x="30" y="48"/>
                  </a:lnTo>
                  <a:lnTo>
                    <a:pt x="108" y="152"/>
                  </a:lnTo>
                  <a:lnTo>
                    <a:pt x="104" y="164"/>
                  </a:lnTo>
                  <a:lnTo>
                    <a:pt x="40" y="178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" name="Freeform 236"/>
            <p:cNvSpPr>
              <a:spLocks/>
            </p:cNvSpPr>
            <p:nvPr/>
          </p:nvSpPr>
          <p:spPr bwMode="auto">
            <a:xfrm>
              <a:off x="1516858" y="1176954"/>
              <a:ext cx="945356" cy="802481"/>
            </a:xfrm>
            <a:custGeom>
              <a:avLst/>
              <a:gdLst>
                <a:gd name="T0" fmla="*/ 370 w 794"/>
                <a:gd name="T1" fmla="*/ 604 h 674"/>
                <a:gd name="T2" fmla="*/ 0 w 794"/>
                <a:gd name="T3" fmla="*/ 496 h 674"/>
                <a:gd name="T4" fmla="*/ 12 w 794"/>
                <a:gd name="T5" fmla="*/ 382 h 674"/>
                <a:gd name="T6" fmla="*/ 34 w 794"/>
                <a:gd name="T7" fmla="*/ 342 h 674"/>
                <a:gd name="T8" fmla="*/ 48 w 794"/>
                <a:gd name="T9" fmla="*/ 328 h 674"/>
                <a:gd name="T10" fmla="*/ 60 w 794"/>
                <a:gd name="T11" fmla="*/ 326 h 674"/>
                <a:gd name="T12" fmla="*/ 62 w 794"/>
                <a:gd name="T13" fmla="*/ 312 h 674"/>
                <a:gd name="T14" fmla="*/ 58 w 794"/>
                <a:gd name="T15" fmla="*/ 312 h 674"/>
                <a:gd name="T16" fmla="*/ 152 w 794"/>
                <a:gd name="T17" fmla="*/ 88 h 674"/>
                <a:gd name="T18" fmla="*/ 162 w 794"/>
                <a:gd name="T19" fmla="*/ 76 h 674"/>
                <a:gd name="T20" fmla="*/ 166 w 794"/>
                <a:gd name="T21" fmla="*/ 58 h 674"/>
                <a:gd name="T22" fmla="*/ 172 w 794"/>
                <a:gd name="T23" fmla="*/ 50 h 674"/>
                <a:gd name="T24" fmla="*/ 168 w 794"/>
                <a:gd name="T25" fmla="*/ 44 h 674"/>
                <a:gd name="T26" fmla="*/ 184 w 794"/>
                <a:gd name="T27" fmla="*/ 4 h 674"/>
                <a:gd name="T28" fmla="*/ 190 w 794"/>
                <a:gd name="T29" fmla="*/ 0 h 674"/>
                <a:gd name="T30" fmla="*/ 222 w 794"/>
                <a:gd name="T31" fmla="*/ 8 h 674"/>
                <a:gd name="T32" fmla="*/ 236 w 794"/>
                <a:gd name="T33" fmla="*/ 18 h 674"/>
                <a:gd name="T34" fmla="*/ 240 w 794"/>
                <a:gd name="T35" fmla="*/ 14 h 674"/>
                <a:gd name="T36" fmla="*/ 260 w 794"/>
                <a:gd name="T37" fmla="*/ 38 h 674"/>
                <a:gd name="T38" fmla="*/ 262 w 794"/>
                <a:gd name="T39" fmla="*/ 52 h 674"/>
                <a:gd name="T40" fmla="*/ 256 w 794"/>
                <a:gd name="T41" fmla="*/ 90 h 674"/>
                <a:gd name="T42" fmla="*/ 292 w 794"/>
                <a:gd name="T43" fmla="*/ 114 h 674"/>
                <a:gd name="T44" fmla="*/ 320 w 794"/>
                <a:gd name="T45" fmla="*/ 112 h 674"/>
                <a:gd name="T46" fmla="*/ 338 w 794"/>
                <a:gd name="T47" fmla="*/ 106 h 674"/>
                <a:gd name="T48" fmla="*/ 380 w 794"/>
                <a:gd name="T49" fmla="*/ 120 h 674"/>
                <a:gd name="T50" fmla="*/ 390 w 794"/>
                <a:gd name="T51" fmla="*/ 134 h 674"/>
                <a:gd name="T52" fmla="*/ 442 w 794"/>
                <a:gd name="T53" fmla="*/ 132 h 674"/>
                <a:gd name="T54" fmla="*/ 452 w 794"/>
                <a:gd name="T55" fmla="*/ 140 h 674"/>
                <a:gd name="T56" fmla="*/ 474 w 794"/>
                <a:gd name="T57" fmla="*/ 142 h 674"/>
                <a:gd name="T58" fmla="*/ 500 w 794"/>
                <a:gd name="T59" fmla="*/ 138 h 674"/>
                <a:gd name="T60" fmla="*/ 526 w 794"/>
                <a:gd name="T61" fmla="*/ 140 h 674"/>
                <a:gd name="T62" fmla="*/ 536 w 794"/>
                <a:gd name="T63" fmla="*/ 134 h 674"/>
                <a:gd name="T64" fmla="*/ 578 w 794"/>
                <a:gd name="T65" fmla="*/ 142 h 674"/>
                <a:gd name="T66" fmla="*/ 588 w 794"/>
                <a:gd name="T67" fmla="*/ 138 h 674"/>
                <a:gd name="T68" fmla="*/ 768 w 794"/>
                <a:gd name="T69" fmla="*/ 182 h 674"/>
                <a:gd name="T70" fmla="*/ 774 w 794"/>
                <a:gd name="T71" fmla="*/ 206 h 674"/>
                <a:gd name="T72" fmla="*/ 792 w 794"/>
                <a:gd name="T73" fmla="*/ 218 h 674"/>
                <a:gd name="T74" fmla="*/ 794 w 794"/>
                <a:gd name="T75" fmla="*/ 240 h 674"/>
                <a:gd name="T76" fmla="*/ 770 w 794"/>
                <a:gd name="T77" fmla="*/ 266 h 674"/>
                <a:gd name="T78" fmla="*/ 760 w 794"/>
                <a:gd name="T79" fmla="*/ 288 h 674"/>
                <a:gd name="T80" fmla="*/ 744 w 794"/>
                <a:gd name="T81" fmla="*/ 304 h 674"/>
                <a:gd name="T82" fmla="*/ 742 w 794"/>
                <a:gd name="T83" fmla="*/ 316 h 674"/>
                <a:gd name="T84" fmla="*/ 734 w 794"/>
                <a:gd name="T85" fmla="*/ 326 h 674"/>
                <a:gd name="T86" fmla="*/ 720 w 794"/>
                <a:gd name="T87" fmla="*/ 334 h 674"/>
                <a:gd name="T88" fmla="*/ 696 w 794"/>
                <a:gd name="T89" fmla="*/ 362 h 674"/>
                <a:gd name="T90" fmla="*/ 692 w 794"/>
                <a:gd name="T91" fmla="*/ 386 h 674"/>
                <a:gd name="T92" fmla="*/ 710 w 794"/>
                <a:gd name="T93" fmla="*/ 394 h 674"/>
                <a:gd name="T94" fmla="*/ 716 w 794"/>
                <a:gd name="T95" fmla="*/ 408 h 674"/>
                <a:gd name="T96" fmla="*/ 706 w 794"/>
                <a:gd name="T97" fmla="*/ 416 h 674"/>
                <a:gd name="T98" fmla="*/ 708 w 794"/>
                <a:gd name="T99" fmla="*/ 426 h 674"/>
                <a:gd name="T100" fmla="*/ 694 w 794"/>
                <a:gd name="T101" fmla="*/ 448 h 674"/>
                <a:gd name="T102" fmla="*/ 640 w 794"/>
                <a:gd name="T103" fmla="*/ 674 h 674"/>
                <a:gd name="T104" fmla="*/ 370 w 794"/>
                <a:gd name="T105" fmla="*/ 604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94" h="674">
                  <a:moveTo>
                    <a:pt x="370" y="604"/>
                  </a:moveTo>
                  <a:lnTo>
                    <a:pt x="0" y="496"/>
                  </a:lnTo>
                  <a:lnTo>
                    <a:pt x="12" y="382"/>
                  </a:lnTo>
                  <a:lnTo>
                    <a:pt x="34" y="342"/>
                  </a:lnTo>
                  <a:lnTo>
                    <a:pt x="48" y="328"/>
                  </a:lnTo>
                  <a:lnTo>
                    <a:pt x="60" y="326"/>
                  </a:lnTo>
                  <a:lnTo>
                    <a:pt x="62" y="312"/>
                  </a:lnTo>
                  <a:lnTo>
                    <a:pt x="58" y="312"/>
                  </a:lnTo>
                  <a:lnTo>
                    <a:pt x="152" y="88"/>
                  </a:lnTo>
                  <a:lnTo>
                    <a:pt x="162" y="76"/>
                  </a:lnTo>
                  <a:lnTo>
                    <a:pt x="166" y="58"/>
                  </a:lnTo>
                  <a:lnTo>
                    <a:pt x="172" y="50"/>
                  </a:lnTo>
                  <a:lnTo>
                    <a:pt x="168" y="44"/>
                  </a:lnTo>
                  <a:lnTo>
                    <a:pt x="184" y="4"/>
                  </a:lnTo>
                  <a:lnTo>
                    <a:pt x="190" y="0"/>
                  </a:lnTo>
                  <a:lnTo>
                    <a:pt x="222" y="8"/>
                  </a:lnTo>
                  <a:lnTo>
                    <a:pt x="236" y="18"/>
                  </a:lnTo>
                  <a:lnTo>
                    <a:pt x="240" y="14"/>
                  </a:lnTo>
                  <a:lnTo>
                    <a:pt x="260" y="38"/>
                  </a:lnTo>
                  <a:lnTo>
                    <a:pt x="262" y="52"/>
                  </a:lnTo>
                  <a:lnTo>
                    <a:pt x="256" y="90"/>
                  </a:lnTo>
                  <a:lnTo>
                    <a:pt x="292" y="114"/>
                  </a:lnTo>
                  <a:lnTo>
                    <a:pt x="320" y="112"/>
                  </a:lnTo>
                  <a:lnTo>
                    <a:pt x="338" y="106"/>
                  </a:lnTo>
                  <a:lnTo>
                    <a:pt x="380" y="120"/>
                  </a:lnTo>
                  <a:lnTo>
                    <a:pt x="390" y="134"/>
                  </a:lnTo>
                  <a:lnTo>
                    <a:pt x="442" y="132"/>
                  </a:lnTo>
                  <a:lnTo>
                    <a:pt x="452" y="140"/>
                  </a:lnTo>
                  <a:lnTo>
                    <a:pt x="474" y="142"/>
                  </a:lnTo>
                  <a:lnTo>
                    <a:pt x="500" y="138"/>
                  </a:lnTo>
                  <a:lnTo>
                    <a:pt x="526" y="140"/>
                  </a:lnTo>
                  <a:lnTo>
                    <a:pt x="536" y="134"/>
                  </a:lnTo>
                  <a:lnTo>
                    <a:pt x="578" y="142"/>
                  </a:lnTo>
                  <a:lnTo>
                    <a:pt x="588" y="138"/>
                  </a:lnTo>
                  <a:lnTo>
                    <a:pt x="768" y="182"/>
                  </a:lnTo>
                  <a:lnTo>
                    <a:pt x="774" y="206"/>
                  </a:lnTo>
                  <a:lnTo>
                    <a:pt x="792" y="218"/>
                  </a:lnTo>
                  <a:lnTo>
                    <a:pt x="794" y="240"/>
                  </a:lnTo>
                  <a:lnTo>
                    <a:pt x="770" y="266"/>
                  </a:lnTo>
                  <a:lnTo>
                    <a:pt x="760" y="288"/>
                  </a:lnTo>
                  <a:lnTo>
                    <a:pt x="744" y="304"/>
                  </a:lnTo>
                  <a:lnTo>
                    <a:pt x="742" y="316"/>
                  </a:lnTo>
                  <a:lnTo>
                    <a:pt x="734" y="326"/>
                  </a:lnTo>
                  <a:lnTo>
                    <a:pt x="720" y="334"/>
                  </a:lnTo>
                  <a:lnTo>
                    <a:pt x="696" y="362"/>
                  </a:lnTo>
                  <a:lnTo>
                    <a:pt x="692" y="386"/>
                  </a:lnTo>
                  <a:lnTo>
                    <a:pt x="710" y="394"/>
                  </a:lnTo>
                  <a:lnTo>
                    <a:pt x="716" y="408"/>
                  </a:lnTo>
                  <a:lnTo>
                    <a:pt x="706" y="416"/>
                  </a:lnTo>
                  <a:lnTo>
                    <a:pt x="708" y="426"/>
                  </a:lnTo>
                  <a:lnTo>
                    <a:pt x="694" y="448"/>
                  </a:lnTo>
                  <a:lnTo>
                    <a:pt x="640" y="674"/>
                  </a:lnTo>
                  <a:lnTo>
                    <a:pt x="370" y="604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" name="Freeform 238"/>
            <p:cNvSpPr>
              <a:spLocks/>
            </p:cNvSpPr>
            <p:nvPr/>
          </p:nvSpPr>
          <p:spPr bwMode="auto">
            <a:xfrm>
              <a:off x="3695701" y="2062779"/>
              <a:ext cx="972741" cy="497681"/>
            </a:xfrm>
            <a:custGeom>
              <a:avLst/>
              <a:gdLst>
                <a:gd name="T0" fmla="*/ 500 w 817"/>
                <a:gd name="T1" fmla="*/ 32 h 418"/>
                <a:gd name="T2" fmla="*/ 24 w 817"/>
                <a:gd name="T3" fmla="*/ 0 h 418"/>
                <a:gd name="T4" fmla="*/ 0 w 817"/>
                <a:gd name="T5" fmla="*/ 254 h 418"/>
                <a:gd name="T6" fmla="*/ 190 w 817"/>
                <a:gd name="T7" fmla="*/ 270 h 418"/>
                <a:gd name="T8" fmla="*/ 180 w 817"/>
                <a:gd name="T9" fmla="*/ 394 h 418"/>
                <a:gd name="T10" fmla="*/ 815 w 817"/>
                <a:gd name="T11" fmla="*/ 418 h 418"/>
                <a:gd name="T12" fmla="*/ 817 w 817"/>
                <a:gd name="T13" fmla="*/ 408 h 418"/>
                <a:gd name="T14" fmla="*/ 809 w 817"/>
                <a:gd name="T15" fmla="*/ 398 h 418"/>
                <a:gd name="T16" fmla="*/ 811 w 817"/>
                <a:gd name="T17" fmla="*/ 392 h 418"/>
                <a:gd name="T18" fmla="*/ 793 w 817"/>
                <a:gd name="T19" fmla="*/ 384 h 418"/>
                <a:gd name="T20" fmla="*/ 789 w 817"/>
                <a:gd name="T21" fmla="*/ 356 h 418"/>
                <a:gd name="T22" fmla="*/ 783 w 817"/>
                <a:gd name="T23" fmla="*/ 354 h 418"/>
                <a:gd name="T24" fmla="*/ 781 w 817"/>
                <a:gd name="T25" fmla="*/ 338 h 418"/>
                <a:gd name="T26" fmla="*/ 773 w 817"/>
                <a:gd name="T27" fmla="*/ 330 h 418"/>
                <a:gd name="T28" fmla="*/ 777 w 817"/>
                <a:gd name="T29" fmla="*/ 310 h 418"/>
                <a:gd name="T30" fmla="*/ 773 w 817"/>
                <a:gd name="T31" fmla="*/ 288 h 418"/>
                <a:gd name="T32" fmla="*/ 775 w 817"/>
                <a:gd name="T33" fmla="*/ 272 h 418"/>
                <a:gd name="T34" fmla="*/ 767 w 817"/>
                <a:gd name="T35" fmla="*/ 268 h 418"/>
                <a:gd name="T36" fmla="*/ 773 w 817"/>
                <a:gd name="T37" fmla="*/ 256 h 418"/>
                <a:gd name="T38" fmla="*/ 765 w 817"/>
                <a:gd name="T39" fmla="*/ 252 h 418"/>
                <a:gd name="T40" fmla="*/ 769 w 817"/>
                <a:gd name="T41" fmla="*/ 236 h 418"/>
                <a:gd name="T42" fmla="*/ 761 w 817"/>
                <a:gd name="T43" fmla="*/ 234 h 418"/>
                <a:gd name="T44" fmla="*/ 761 w 817"/>
                <a:gd name="T45" fmla="*/ 224 h 418"/>
                <a:gd name="T46" fmla="*/ 753 w 817"/>
                <a:gd name="T47" fmla="*/ 226 h 418"/>
                <a:gd name="T48" fmla="*/ 751 w 817"/>
                <a:gd name="T49" fmla="*/ 208 h 418"/>
                <a:gd name="T50" fmla="*/ 755 w 817"/>
                <a:gd name="T51" fmla="*/ 194 h 418"/>
                <a:gd name="T52" fmla="*/ 747 w 817"/>
                <a:gd name="T53" fmla="*/ 180 h 418"/>
                <a:gd name="T54" fmla="*/ 749 w 817"/>
                <a:gd name="T55" fmla="*/ 170 h 418"/>
                <a:gd name="T56" fmla="*/ 739 w 817"/>
                <a:gd name="T57" fmla="*/ 162 h 418"/>
                <a:gd name="T58" fmla="*/ 737 w 817"/>
                <a:gd name="T59" fmla="*/ 154 h 418"/>
                <a:gd name="T60" fmla="*/ 731 w 817"/>
                <a:gd name="T61" fmla="*/ 144 h 418"/>
                <a:gd name="T62" fmla="*/ 731 w 817"/>
                <a:gd name="T63" fmla="*/ 132 h 418"/>
                <a:gd name="T64" fmla="*/ 725 w 817"/>
                <a:gd name="T65" fmla="*/ 120 h 418"/>
                <a:gd name="T66" fmla="*/ 725 w 817"/>
                <a:gd name="T67" fmla="*/ 104 h 418"/>
                <a:gd name="T68" fmla="*/ 706 w 817"/>
                <a:gd name="T69" fmla="*/ 100 h 418"/>
                <a:gd name="T70" fmla="*/ 698 w 817"/>
                <a:gd name="T71" fmla="*/ 80 h 418"/>
                <a:gd name="T72" fmla="*/ 660 w 817"/>
                <a:gd name="T73" fmla="*/ 66 h 418"/>
                <a:gd name="T74" fmla="*/ 648 w 817"/>
                <a:gd name="T75" fmla="*/ 54 h 418"/>
                <a:gd name="T76" fmla="*/ 592 w 817"/>
                <a:gd name="T77" fmla="*/ 54 h 418"/>
                <a:gd name="T78" fmla="*/ 586 w 817"/>
                <a:gd name="T79" fmla="*/ 64 h 418"/>
                <a:gd name="T80" fmla="*/ 578 w 817"/>
                <a:gd name="T81" fmla="*/ 64 h 418"/>
                <a:gd name="T82" fmla="*/ 544 w 817"/>
                <a:gd name="T83" fmla="*/ 46 h 418"/>
                <a:gd name="T84" fmla="*/ 534 w 817"/>
                <a:gd name="T85" fmla="*/ 34 h 418"/>
                <a:gd name="T86" fmla="*/ 534 w 817"/>
                <a:gd name="T87" fmla="*/ 34 h 418"/>
                <a:gd name="T88" fmla="*/ 500 w 817"/>
                <a:gd name="T89" fmla="*/ 3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17" h="418">
                  <a:moveTo>
                    <a:pt x="500" y="32"/>
                  </a:moveTo>
                  <a:lnTo>
                    <a:pt x="24" y="0"/>
                  </a:lnTo>
                  <a:lnTo>
                    <a:pt x="0" y="254"/>
                  </a:lnTo>
                  <a:lnTo>
                    <a:pt x="190" y="270"/>
                  </a:lnTo>
                  <a:lnTo>
                    <a:pt x="180" y="394"/>
                  </a:lnTo>
                  <a:lnTo>
                    <a:pt x="815" y="418"/>
                  </a:lnTo>
                  <a:lnTo>
                    <a:pt x="817" y="408"/>
                  </a:lnTo>
                  <a:lnTo>
                    <a:pt x="809" y="398"/>
                  </a:lnTo>
                  <a:lnTo>
                    <a:pt x="811" y="392"/>
                  </a:lnTo>
                  <a:lnTo>
                    <a:pt x="793" y="384"/>
                  </a:lnTo>
                  <a:lnTo>
                    <a:pt x="789" y="356"/>
                  </a:lnTo>
                  <a:lnTo>
                    <a:pt x="783" y="354"/>
                  </a:lnTo>
                  <a:lnTo>
                    <a:pt x="781" y="338"/>
                  </a:lnTo>
                  <a:lnTo>
                    <a:pt x="773" y="330"/>
                  </a:lnTo>
                  <a:lnTo>
                    <a:pt x="777" y="310"/>
                  </a:lnTo>
                  <a:lnTo>
                    <a:pt x="773" y="288"/>
                  </a:lnTo>
                  <a:lnTo>
                    <a:pt x="775" y="272"/>
                  </a:lnTo>
                  <a:lnTo>
                    <a:pt x="767" y="268"/>
                  </a:lnTo>
                  <a:lnTo>
                    <a:pt x="773" y="256"/>
                  </a:lnTo>
                  <a:lnTo>
                    <a:pt x="765" y="252"/>
                  </a:lnTo>
                  <a:lnTo>
                    <a:pt x="769" y="236"/>
                  </a:lnTo>
                  <a:lnTo>
                    <a:pt x="761" y="234"/>
                  </a:lnTo>
                  <a:lnTo>
                    <a:pt x="761" y="224"/>
                  </a:lnTo>
                  <a:lnTo>
                    <a:pt x="753" y="226"/>
                  </a:lnTo>
                  <a:lnTo>
                    <a:pt x="751" y="208"/>
                  </a:lnTo>
                  <a:lnTo>
                    <a:pt x="755" y="194"/>
                  </a:lnTo>
                  <a:lnTo>
                    <a:pt x="747" y="180"/>
                  </a:lnTo>
                  <a:lnTo>
                    <a:pt x="749" y="170"/>
                  </a:lnTo>
                  <a:lnTo>
                    <a:pt x="739" y="162"/>
                  </a:lnTo>
                  <a:lnTo>
                    <a:pt x="737" y="154"/>
                  </a:lnTo>
                  <a:lnTo>
                    <a:pt x="731" y="144"/>
                  </a:lnTo>
                  <a:lnTo>
                    <a:pt x="731" y="132"/>
                  </a:lnTo>
                  <a:lnTo>
                    <a:pt x="725" y="120"/>
                  </a:lnTo>
                  <a:lnTo>
                    <a:pt x="725" y="104"/>
                  </a:lnTo>
                  <a:lnTo>
                    <a:pt x="706" y="100"/>
                  </a:lnTo>
                  <a:lnTo>
                    <a:pt x="698" y="80"/>
                  </a:lnTo>
                  <a:lnTo>
                    <a:pt x="660" y="66"/>
                  </a:lnTo>
                  <a:lnTo>
                    <a:pt x="648" y="54"/>
                  </a:lnTo>
                  <a:lnTo>
                    <a:pt x="592" y="54"/>
                  </a:lnTo>
                  <a:lnTo>
                    <a:pt x="586" y="64"/>
                  </a:lnTo>
                  <a:lnTo>
                    <a:pt x="578" y="64"/>
                  </a:lnTo>
                  <a:lnTo>
                    <a:pt x="544" y="46"/>
                  </a:lnTo>
                  <a:lnTo>
                    <a:pt x="534" y="34"/>
                  </a:lnTo>
                  <a:lnTo>
                    <a:pt x="534" y="34"/>
                  </a:lnTo>
                  <a:lnTo>
                    <a:pt x="500" y="32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" name="Freeform 239"/>
            <p:cNvSpPr>
              <a:spLocks/>
            </p:cNvSpPr>
            <p:nvPr/>
          </p:nvSpPr>
          <p:spPr bwMode="auto">
            <a:xfrm>
              <a:off x="7159230" y="1450797"/>
              <a:ext cx="192881" cy="407194"/>
            </a:xfrm>
            <a:custGeom>
              <a:avLst/>
              <a:gdLst>
                <a:gd name="T0" fmla="*/ 162 w 162"/>
                <a:gd name="T1" fmla="*/ 260 h 342"/>
                <a:gd name="T2" fmla="*/ 152 w 162"/>
                <a:gd name="T3" fmla="*/ 252 h 342"/>
                <a:gd name="T4" fmla="*/ 150 w 162"/>
                <a:gd name="T5" fmla="*/ 242 h 342"/>
                <a:gd name="T6" fmla="*/ 130 w 162"/>
                <a:gd name="T7" fmla="*/ 226 h 342"/>
                <a:gd name="T8" fmla="*/ 98 w 162"/>
                <a:gd name="T9" fmla="*/ 112 h 342"/>
                <a:gd name="T10" fmla="*/ 62 w 162"/>
                <a:gd name="T11" fmla="*/ 0 h 342"/>
                <a:gd name="T12" fmla="*/ 58 w 162"/>
                <a:gd name="T13" fmla="*/ 4 h 342"/>
                <a:gd name="T14" fmla="*/ 40 w 162"/>
                <a:gd name="T15" fmla="*/ 10 h 342"/>
                <a:gd name="T16" fmla="*/ 36 w 162"/>
                <a:gd name="T17" fmla="*/ 18 h 342"/>
                <a:gd name="T18" fmla="*/ 32 w 162"/>
                <a:gd name="T19" fmla="*/ 46 h 342"/>
                <a:gd name="T20" fmla="*/ 36 w 162"/>
                <a:gd name="T21" fmla="*/ 54 h 342"/>
                <a:gd name="T22" fmla="*/ 30 w 162"/>
                <a:gd name="T23" fmla="*/ 74 h 342"/>
                <a:gd name="T24" fmla="*/ 42 w 162"/>
                <a:gd name="T25" fmla="*/ 92 h 342"/>
                <a:gd name="T26" fmla="*/ 42 w 162"/>
                <a:gd name="T27" fmla="*/ 102 h 342"/>
                <a:gd name="T28" fmla="*/ 24 w 162"/>
                <a:gd name="T29" fmla="*/ 130 h 342"/>
                <a:gd name="T30" fmla="*/ 10 w 162"/>
                <a:gd name="T31" fmla="*/ 138 h 342"/>
                <a:gd name="T32" fmla="*/ 14 w 162"/>
                <a:gd name="T33" fmla="*/ 182 h 342"/>
                <a:gd name="T34" fmla="*/ 0 w 162"/>
                <a:gd name="T35" fmla="*/ 240 h 342"/>
                <a:gd name="T36" fmla="*/ 10 w 162"/>
                <a:gd name="T37" fmla="*/ 308 h 342"/>
                <a:gd name="T38" fmla="*/ 6 w 162"/>
                <a:gd name="T39" fmla="*/ 328 h 342"/>
                <a:gd name="T40" fmla="*/ 18 w 162"/>
                <a:gd name="T41" fmla="*/ 342 h 342"/>
                <a:gd name="T42" fmla="*/ 124 w 162"/>
                <a:gd name="T43" fmla="*/ 316 h 342"/>
                <a:gd name="T44" fmla="*/ 152 w 162"/>
                <a:gd name="T45" fmla="*/ 288 h 342"/>
                <a:gd name="T46" fmla="*/ 162 w 162"/>
                <a:gd name="T47" fmla="*/ 286 h 342"/>
                <a:gd name="T48" fmla="*/ 162 w 162"/>
                <a:gd name="T49" fmla="*/ 26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2" h="342">
                  <a:moveTo>
                    <a:pt x="162" y="260"/>
                  </a:moveTo>
                  <a:lnTo>
                    <a:pt x="152" y="252"/>
                  </a:lnTo>
                  <a:lnTo>
                    <a:pt x="150" y="242"/>
                  </a:lnTo>
                  <a:lnTo>
                    <a:pt x="130" y="226"/>
                  </a:lnTo>
                  <a:lnTo>
                    <a:pt x="98" y="112"/>
                  </a:lnTo>
                  <a:lnTo>
                    <a:pt x="62" y="0"/>
                  </a:lnTo>
                  <a:lnTo>
                    <a:pt x="58" y="4"/>
                  </a:lnTo>
                  <a:lnTo>
                    <a:pt x="40" y="10"/>
                  </a:lnTo>
                  <a:lnTo>
                    <a:pt x="36" y="18"/>
                  </a:lnTo>
                  <a:lnTo>
                    <a:pt x="32" y="46"/>
                  </a:lnTo>
                  <a:lnTo>
                    <a:pt x="36" y="54"/>
                  </a:lnTo>
                  <a:lnTo>
                    <a:pt x="30" y="74"/>
                  </a:lnTo>
                  <a:lnTo>
                    <a:pt x="42" y="92"/>
                  </a:lnTo>
                  <a:lnTo>
                    <a:pt x="42" y="102"/>
                  </a:lnTo>
                  <a:lnTo>
                    <a:pt x="24" y="130"/>
                  </a:lnTo>
                  <a:lnTo>
                    <a:pt x="10" y="138"/>
                  </a:lnTo>
                  <a:lnTo>
                    <a:pt x="14" y="182"/>
                  </a:lnTo>
                  <a:lnTo>
                    <a:pt x="0" y="240"/>
                  </a:lnTo>
                  <a:lnTo>
                    <a:pt x="10" y="308"/>
                  </a:lnTo>
                  <a:lnTo>
                    <a:pt x="6" y="328"/>
                  </a:lnTo>
                  <a:lnTo>
                    <a:pt x="18" y="342"/>
                  </a:lnTo>
                  <a:lnTo>
                    <a:pt x="124" y="316"/>
                  </a:lnTo>
                  <a:lnTo>
                    <a:pt x="152" y="288"/>
                  </a:lnTo>
                  <a:lnTo>
                    <a:pt x="162" y="286"/>
                  </a:lnTo>
                  <a:lnTo>
                    <a:pt x="162" y="26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" name="Freeform 240"/>
            <p:cNvSpPr>
              <a:spLocks/>
            </p:cNvSpPr>
            <p:nvPr/>
          </p:nvSpPr>
          <p:spPr bwMode="auto">
            <a:xfrm>
              <a:off x="3752850" y="2978370"/>
              <a:ext cx="1027510" cy="550069"/>
            </a:xfrm>
            <a:custGeom>
              <a:avLst/>
              <a:gdLst>
                <a:gd name="T0" fmla="*/ 56 w 863"/>
                <a:gd name="T1" fmla="*/ 70 h 462"/>
                <a:gd name="T2" fmla="*/ 302 w 863"/>
                <a:gd name="T3" fmla="*/ 86 h 462"/>
                <a:gd name="T4" fmla="*/ 290 w 863"/>
                <a:gd name="T5" fmla="*/ 332 h 462"/>
                <a:gd name="T6" fmla="*/ 302 w 863"/>
                <a:gd name="T7" fmla="*/ 332 h 462"/>
                <a:gd name="T8" fmla="*/ 326 w 863"/>
                <a:gd name="T9" fmla="*/ 356 h 462"/>
                <a:gd name="T10" fmla="*/ 336 w 863"/>
                <a:gd name="T11" fmla="*/ 354 h 462"/>
                <a:gd name="T12" fmla="*/ 350 w 863"/>
                <a:gd name="T13" fmla="*/ 358 h 462"/>
                <a:gd name="T14" fmla="*/ 356 w 863"/>
                <a:gd name="T15" fmla="*/ 348 h 462"/>
                <a:gd name="T16" fmla="*/ 372 w 863"/>
                <a:gd name="T17" fmla="*/ 364 h 462"/>
                <a:gd name="T18" fmla="*/ 374 w 863"/>
                <a:gd name="T19" fmla="*/ 380 h 462"/>
                <a:gd name="T20" fmla="*/ 394 w 863"/>
                <a:gd name="T21" fmla="*/ 380 h 462"/>
                <a:gd name="T22" fmla="*/ 418 w 863"/>
                <a:gd name="T23" fmla="*/ 392 h 462"/>
                <a:gd name="T24" fmla="*/ 434 w 863"/>
                <a:gd name="T25" fmla="*/ 390 h 462"/>
                <a:gd name="T26" fmla="*/ 448 w 863"/>
                <a:gd name="T27" fmla="*/ 402 h 462"/>
                <a:gd name="T28" fmla="*/ 458 w 863"/>
                <a:gd name="T29" fmla="*/ 392 h 462"/>
                <a:gd name="T30" fmla="*/ 486 w 863"/>
                <a:gd name="T31" fmla="*/ 394 h 462"/>
                <a:gd name="T32" fmla="*/ 486 w 863"/>
                <a:gd name="T33" fmla="*/ 408 h 462"/>
                <a:gd name="T34" fmla="*/ 500 w 863"/>
                <a:gd name="T35" fmla="*/ 414 h 462"/>
                <a:gd name="T36" fmla="*/ 498 w 863"/>
                <a:gd name="T37" fmla="*/ 426 h 462"/>
                <a:gd name="T38" fmla="*/ 508 w 863"/>
                <a:gd name="T39" fmla="*/ 430 h 462"/>
                <a:gd name="T40" fmla="*/ 532 w 863"/>
                <a:gd name="T41" fmla="*/ 414 h 462"/>
                <a:gd name="T42" fmla="*/ 538 w 863"/>
                <a:gd name="T43" fmla="*/ 418 h 462"/>
                <a:gd name="T44" fmla="*/ 538 w 863"/>
                <a:gd name="T45" fmla="*/ 426 h 462"/>
                <a:gd name="T46" fmla="*/ 550 w 863"/>
                <a:gd name="T47" fmla="*/ 426 h 462"/>
                <a:gd name="T48" fmla="*/ 554 w 863"/>
                <a:gd name="T49" fmla="*/ 436 h 462"/>
                <a:gd name="T50" fmla="*/ 578 w 863"/>
                <a:gd name="T51" fmla="*/ 428 h 462"/>
                <a:gd name="T52" fmla="*/ 578 w 863"/>
                <a:gd name="T53" fmla="*/ 440 h 462"/>
                <a:gd name="T54" fmla="*/ 586 w 863"/>
                <a:gd name="T55" fmla="*/ 450 h 462"/>
                <a:gd name="T56" fmla="*/ 594 w 863"/>
                <a:gd name="T57" fmla="*/ 438 h 462"/>
                <a:gd name="T58" fmla="*/ 592 w 863"/>
                <a:gd name="T59" fmla="*/ 434 h 462"/>
                <a:gd name="T60" fmla="*/ 622 w 863"/>
                <a:gd name="T61" fmla="*/ 424 h 462"/>
                <a:gd name="T62" fmla="*/ 632 w 863"/>
                <a:gd name="T63" fmla="*/ 434 h 462"/>
                <a:gd name="T64" fmla="*/ 662 w 863"/>
                <a:gd name="T65" fmla="*/ 444 h 462"/>
                <a:gd name="T66" fmla="*/ 670 w 863"/>
                <a:gd name="T67" fmla="*/ 454 h 462"/>
                <a:gd name="T68" fmla="*/ 674 w 863"/>
                <a:gd name="T69" fmla="*/ 446 h 462"/>
                <a:gd name="T70" fmla="*/ 681 w 863"/>
                <a:gd name="T71" fmla="*/ 446 h 462"/>
                <a:gd name="T72" fmla="*/ 687 w 863"/>
                <a:gd name="T73" fmla="*/ 438 h 462"/>
                <a:gd name="T74" fmla="*/ 709 w 863"/>
                <a:gd name="T75" fmla="*/ 430 h 462"/>
                <a:gd name="T76" fmla="*/ 727 w 863"/>
                <a:gd name="T77" fmla="*/ 436 h 462"/>
                <a:gd name="T78" fmla="*/ 727 w 863"/>
                <a:gd name="T79" fmla="*/ 430 h 462"/>
                <a:gd name="T80" fmla="*/ 745 w 863"/>
                <a:gd name="T81" fmla="*/ 424 h 462"/>
                <a:gd name="T82" fmla="*/ 751 w 863"/>
                <a:gd name="T83" fmla="*/ 432 h 462"/>
                <a:gd name="T84" fmla="*/ 773 w 863"/>
                <a:gd name="T85" fmla="*/ 434 h 462"/>
                <a:gd name="T86" fmla="*/ 785 w 863"/>
                <a:gd name="T87" fmla="*/ 422 h 462"/>
                <a:gd name="T88" fmla="*/ 811 w 863"/>
                <a:gd name="T89" fmla="*/ 434 h 462"/>
                <a:gd name="T90" fmla="*/ 821 w 863"/>
                <a:gd name="T91" fmla="*/ 448 h 462"/>
                <a:gd name="T92" fmla="*/ 863 w 863"/>
                <a:gd name="T93" fmla="*/ 462 h 462"/>
                <a:gd name="T94" fmla="*/ 847 w 863"/>
                <a:gd name="T95" fmla="*/ 34 h 462"/>
                <a:gd name="T96" fmla="*/ 104 w 863"/>
                <a:gd name="T97" fmla="*/ 8 h 462"/>
                <a:gd name="T98" fmla="*/ 6 w 863"/>
                <a:gd name="T99" fmla="*/ 0 h 462"/>
                <a:gd name="T100" fmla="*/ 0 w 863"/>
                <a:gd name="T101" fmla="*/ 64 h 462"/>
                <a:gd name="T102" fmla="*/ 56 w 863"/>
                <a:gd name="T103" fmla="*/ 70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63" h="462">
                  <a:moveTo>
                    <a:pt x="56" y="70"/>
                  </a:moveTo>
                  <a:lnTo>
                    <a:pt x="302" y="86"/>
                  </a:lnTo>
                  <a:lnTo>
                    <a:pt x="290" y="332"/>
                  </a:lnTo>
                  <a:lnTo>
                    <a:pt x="302" y="332"/>
                  </a:lnTo>
                  <a:lnTo>
                    <a:pt x="326" y="356"/>
                  </a:lnTo>
                  <a:lnTo>
                    <a:pt x="336" y="354"/>
                  </a:lnTo>
                  <a:lnTo>
                    <a:pt x="350" y="358"/>
                  </a:lnTo>
                  <a:lnTo>
                    <a:pt x="356" y="348"/>
                  </a:lnTo>
                  <a:lnTo>
                    <a:pt x="372" y="364"/>
                  </a:lnTo>
                  <a:lnTo>
                    <a:pt x="374" y="380"/>
                  </a:lnTo>
                  <a:lnTo>
                    <a:pt x="394" y="380"/>
                  </a:lnTo>
                  <a:lnTo>
                    <a:pt x="418" y="392"/>
                  </a:lnTo>
                  <a:lnTo>
                    <a:pt x="434" y="390"/>
                  </a:lnTo>
                  <a:lnTo>
                    <a:pt x="448" y="402"/>
                  </a:lnTo>
                  <a:lnTo>
                    <a:pt x="458" y="392"/>
                  </a:lnTo>
                  <a:lnTo>
                    <a:pt x="486" y="394"/>
                  </a:lnTo>
                  <a:lnTo>
                    <a:pt x="486" y="408"/>
                  </a:lnTo>
                  <a:lnTo>
                    <a:pt x="500" y="414"/>
                  </a:lnTo>
                  <a:lnTo>
                    <a:pt x="498" y="426"/>
                  </a:lnTo>
                  <a:lnTo>
                    <a:pt x="508" y="430"/>
                  </a:lnTo>
                  <a:lnTo>
                    <a:pt x="532" y="414"/>
                  </a:lnTo>
                  <a:lnTo>
                    <a:pt x="538" y="418"/>
                  </a:lnTo>
                  <a:lnTo>
                    <a:pt x="538" y="426"/>
                  </a:lnTo>
                  <a:lnTo>
                    <a:pt x="550" y="426"/>
                  </a:lnTo>
                  <a:lnTo>
                    <a:pt x="554" y="436"/>
                  </a:lnTo>
                  <a:lnTo>
                    <a:pt x="578" y="428"/>
                  </a:lnTo>
                  <a:lnTo>
                    <a:pt x="578" y="440"/>
                  </a:lnTo>
                  <a:lnTo>
                    <a:pt x="586" y="450"/>
                  </a:lnTo>
                  <a:lnTo>
                    <a:pt x="594" y="438"/>
                  </a:lnTo>
                  <a:lnTo>
                    <a:pt x="592" y="434"/>
                  </a:lnTo>
                  <a:lnTo>
                    <a:pt x="622" y="424"/>
                  </a:lnTo>
                  <a:lnTo>
                    <a:pt x="632" y="434"/>
                  </a:lnTo>
                  <a:lnTo>
                    <a:pt x="662" y="444"/>
                  </a:lnTo>
                  <a:lnTo>
                    <a:pt x="670" y="454"/>
                  </a:lnTo>
                  <a:lnTo>
                    <a:pt x="674" y="446"/>
                  </a:lnTo>
                  <a:lnTo>
                    <a:pt x="681" y="446"/>
                  </a:lnTo>
                  <a:lnTo>
                    <a:pt x="687" y="438"/>
                  </a:lnTo>
                  <a:lnTo>
                    <a:pt x="709" y="430"/>
                  </a:lnTo>
                  <a:lnTo>
                    <a:pt x="727" y="436"/>
                  </a:lnTo>
                  <a:lnTo>
                    <a:pt x="727" y="430"/>
                  </a:lnTo>
                  <a:lnTo>
                    <a:pt x="745" y="424"/>
                  </a:lnTo>
                  <a:lnTo>
                    <a:pt x="751" y="432"/>
                  </a:lnTo>
                  <a:lnTo>
                    <a:pt x="773" y="434"/>
                  </a:lnTo>
                  <a:lnTo>
                    <a:pt x="785" y="422"/>
                  </a:lnTo>
                  <a:lnTo>
                    <a:pt x="811" y="434"/>
                  </a:lnTo>
                  <a:lnTo>
                    <a:pt x="821" y="448"/>
                  </a:lnTo>
                  <a:lnTo>
                    <a:pt x="863" y="462"/>
                  </a:lnTo>
                  <a:lnTo>
                    <a:pt x="847" y="34"/>
                  </a:lnTo>
                  <a:lnTo>
                    <a:pt x="104" y="8"/>
                  </a:lnTo>
                  <a:lnTo>
                    <a:pt x="6" y="0"/>
                  </a:lnTo>
                  <a:lnTo>
                    <a:pt x="0" y="64"/>
                  </a:lnTo>
                  <a:lnTo>
                    <a:pt x="56" y="7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" name="Freeform 241"/>
            <p:cNvSpPr>
              <a:spLocks/>
            </p:cNvSpPr>
            <p:nvPr/>
          </p:nvSpPr>
          <p:spPr bwMode="auto">
            <a:xfrm>
              <a:off x="6401992" y="1550810"/>
              <a:ext cx="721519" cy="645319"/>
            </a:xfrm>
            <a:custGeom>
              <a:avLst/>
              <a:gdLst>
                <a:gd name="T0" fmla="*/ 590 w 606"/>
                <a:gd name="T1" fmla="*/ 516 h 542"/>
                <a:gd name="T2" fmla="*/ 586 w 606"/>
                <a:gd name="T3" fmla="*/ 486 h 542"/>
                <a:gd name="T4" fmla="*/ 596 w 606"/>
                <a:gd name="T5" fmla="*/ 458 h 542"/>
                <a:gd name="T6" fmla="*/ 580 w 606"/>
                <a:gd name="T7" fmla="*/ 366 h 542"/>
                <a:gd name="T8" fmla="*/ 578 w 606"/>
                <a:gd name="T9" fmla="*/ 264 h 542"/>
                <a:gd name="T10" fmla="*/ 552 w 606"/>
                <a:gd name="T11" fmla="*/ 166 h 542"/>
                <a:gd name="T12" fmla="*/ 542 w 606"/>
                <a:gd name="T13" fmla="*/ 166 h 542"/>
                <a:gd name="T14" fmla="*/ 528 w 606"/>
                <a:gd name="T15" fmla="*/ 116 h 542"/>
                <a:gd name="T16" fmla="*/ 534 w 606"/>
                <a:gd name="T17" fmla="*/ 88 h 542"/>
                <a:gd name="T18" fmla="*/ 530 w 606"/>
                <a:gd name="T19" fmla="*/ 64 h 542"/>
                <a:gd name="T20" fmla="*/ 516 w 606"/>
                <a:gd name="T21" fmla="*/ 24 h 542"/>
                <a:gd name="T22" fmla="*/ 514 w 606"/>
                <a:gd name="T23" fmla="*/ 8 h 542"/>
                <a:gd name="T24" fmla="*/ 366 w 606"/>
                <a:gd name="T25" fmla="*/ 32 h 542"/>
                <a:gd name="T26" fmla="*/ 308 w 606"/>
                <a:gd name="T27" fmla="*/ 126 h 542"/>
                <a:gd name="T28" fmla="*/ 274 w 606"/>
                <a:gd name="T29" fmla="*/ 162 h 542"/>
                <a:gd name="T30" fmla="*/ 290 w 606"/>
                <a:gd name="T31" fmla="*/ 168 h 542"/>
                <a:gd name="T32" fmla="*/ 296 w 606"/>
                <a:gd name="T33" fmla="*/ 180 h 542"/>
                <a:gd name="T34" fmla="*/ 284 w 606"/>
                <a:gd name="T35" fmla="*/ 186 h 542"/>
                <a:gd name="T36" fmla="*/ 286 w 606"/>
                <a:gd name="T37" fmla="*/ 196 h 542"/>
                <a:gd name="T38" fmla="*/ 302 w 606"/>
                <a:gd name="T39" fmla="*/ 218 h 542"/>
                <a:gd name="T40" fmla="*/ 274 w 606"/>
                <a:gd name="T41" fmla="*/ 240 h 542"/>
                <a:gd name="T42" fmla="*/ 238 w 606"/>
                <a:gd name="T43" fmla="*/ 274 h 542"/>
                <a:gd name="T44" fmla="*/ 198 w 606"/>
                <a:gd name="T45" fmla="*/ 282 h 542"/>
                <a:gd name="T46" fmla="*/ 166 w 606"/>
                <a:gd name="T47" fmla="*/ 282 h 542"/>
                <a:gd name="T48" fmla="*/ 50 w 606"/>
                <a:gd name="T49" fmla="*/ 316 h 542"/>
                <a:gd name="T50" fmla="*/ 56 w 606"/>
                <a:gd name="T51" fmla="*/ 388 h 542"/>
                <a:gd name="T52" fmla="*/ 46 w 606"/>
                <a:gd name="T53" fmla="*/ 404 h 542"/>
                <a:gd name="T54" fmla="*/ 0 w 606"/>
                <a:gd name="T55" fmla="*/ 450 h 542"/>
                <a:gd name="T56" fmla="*/ 408 w 606"/>
                <a:gd name="T57" fmla="*/ 408 h 542"/>
                <a:gd name="T58" fmla="*/ 424 w 606"/>
                <a:gd name="T59" fmla="*/ 422 h 542"/>
                <a:gd name="T60" fmla="*/ 440 w 606"/>
                <a:gd name="T61" fmla="*/ 428 h 542"/>
                <a:gd name="T62" fmla="*/ 448 w 606"/>
                <a:gd name="T63" fmla="*/ 450 h 542"/>
                <a:gd name="T64" fmla="*/ 484 w 606"/>
                <a:gd name="T65" fmla="*/ 468 h 542"/>
                <a:gd name="T66" fmla="*/ 574 w 606"/>
                <a:gd name="T67" fmla="*/ 504 h 542"/>
                <a:gd name="T68" fmla="*/ 580 w 606"/>
                <a:gd name="T69" fmla="*/ 518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6" h="542">
                  <a:moveTo>
                    <a:pt x="580" y="518"/>
                  </a:moveTo>
                  <a:lnTo>
                    <a:pt x="590" y="516"/>
                  </a:lnTo>
                  <a:lnTo>
                    <a:pt x="596" y="496"/>
                  </a:lnTo>
                  <a:lnTo>
                    <a:pt x="586" y="486"/>
                  </a:lnTo>
                  <a:lnTo>
                    <a:pt x="606" y="468"/>
                  </a:lnTo>
                  <a:lnTo>
                    <a:pt x="596" y="458"/>
                  </a:lnTo>
                  <a:lnTo>
                    <a:pt x="582" y="366"/>
                  </a:lnTo>
                  <a:lnTo>
                    <a:pt x="580" y="366"/>
                  </a:lnTo>
                  <a:lnTo>
                    <a:pt x="582" y="274"/>
                  </a:lnTo>
                  <a:lnTo>
                    <a:pt x="578" y="264"/>
                  </a:lnTo>
                  <a:lnTo>
                    <a:pt x="560" y="174"/>
                  </a:lnTo>
                  <a:lnTo>
                    <a:pt x="552" y="166"/>
                  </a:lnTo>
                  <a:lnTo>
                    <a:pt x="544" y="174"/>
                  </a:lnTo>
                  <a:lnTo>
                    <a:pt x="542" y="166"/>
                  </a:lnTo>
                  <a:lnTo>
                    <a:pt x="544" y="152"/>
                  </a:lnTo>
                  <a:lnTo>
                    <a:pt x="528" y="116"/>
                  </a:lnTo>
                  <a:lnTo>
                    <a:pt x="530" y="96"/>
                  </a:lnTo>
                  <a:lnTo>
                    <a:pt x="534" y="88"/>
                  </a:lnTo>
                  <a:lnTo>
                    <a:pt x="528" y="74"/>
                  </a:lnTo>
                  <a:lnTo>
                    <a:pt x="530" y="64"/>
                  </a:lnTo>
                  <a:lnTo>
                    <a:pt x="518" y="44"/>
                  </a:lnTo>
                  <a:lnTo>
                    <a:pt x="516" y="24"/>
                  </a:lnTo>
                  <a:lnTo>
                    <a:pt x="512" y="16"/>
                  </a:lnTo>
                  <a:lnTo>
                    <a:pt x="514" y="8"/>
                  </a:lnTo>
                  <a:lnTo>
                    <a:pt x="510" y="0"/>
                  </a:lnTo>
                  <a:lnTo>
                    <a:pt x="366" y="32"/>
                  </a:lnTo>
                  <a:lnTo>
                    <a:pt x="318" y="84"/>
                  </a:lnTo>
                  <a:lnTo>
                    <a:pt x="308" y="126"/>
                  </a:lnTo>
                  <a:lnTo>
                    <a:pt x="278" y="154"/>
                  </a:lnTo>
                  <a:lnTo>
                    <a:pt x="274" y="162"/>
                  </a:lnTo>
                  <a:lnTo>
                    <a:pt x="278" y="170"/>
                  </a:lnTo>
                  <a:lnTo>
                    <a:pt x="290" y="168"/>
                  </a:lnTo>
                  <a:lnTo>
                    <a:pt x="296" y="174"/>
                  </a:lnTo>
                  <a:lnTo>
                    <a:pt x="296" y="180"/>
                  </a:lnTo>
                  <a:lnTo>
                    <a:pt x="292" y="186"/>
                  </a:lnTo>
                  <a:lnTo>
                    <a:pt x="284" y="186"/>
                  </a:lnTo>
                  <a:lnTo>
                    <a:pt x="284" y="190"/>
                  </a:lnTo>
                  <a:lnTo>
                    <a:pt x="286" y="196"/>
                  </a:lnTo>
                  <a:lnTo>
                    <a:pt x="296" y="204"/>
                  </a:lnTo>
                  <a:lnTo>
                    <a:pt x="302" y="218"/>
                  </a:lnTo>
                  <a:lnTo>
                    <a:pt x="300" y="230"/>
                  </a:lnTo>
                  <a:lnTo>
                    <a:pt x="274" y="240"/>
                  </a:lnTo>
                  <a:lnTo>
                    <a:pt x="252" y="268"/>
                  </a:lnTo>
                  <a:lnTo>
                    <a:pt x="238" y="274"/>
                  </a:lnTo>
                  <a:lnTo>
                    <a:pt x="206" y="282"/>
                  </a:lnTo>
                  <a:lnTo>
                    <a:pt x="198" y="282"/>
                  </a:lnTo>
                  <a:lnTo>
                    <a:pt x="182" y="290"/>
                  </a:lnTo>
                  <a:lnTo>
                    <a:pt x="166" y="282"/>
                  </a:lnTo>
                  <a:lnTo>
                    <a:pt x="130" y="282"/>
                  </a:lnTo>
                  <a:lnTo>
                    <a:pt x="50" y="316"/>
                  </a:lnTo>
                  <a:lnTo>
                    <a:pt x="74" y="366"/>
                  </a:lnTo>
                  <a:lnTo>
                    <a:pt x="56" y="388"/>
                  </a:lnTo>
                  <a:lnTo>
                    <a:pt x="52" y="400"/>
                  </a:lnTo>
                  <a:lnTo>
                    <a:pt x="46" y="404"/>
                  </a:lnTo>
                  <a:lnTo>
                    <a:pt x="40" y="406"/>
                  </a:lnTo>
                  <a:lnTo>
                    <a:pt x="0" y="450"/>
                  </a:lnTo>
                  <a:lnTo>
                    <a:pt x="6" y="484"/>
                  </a:lnTo>
                  <a:lnTo>
                    <a:pt x="408" y="408"/>
                  </a:lnTo>
                  <a:lnTo>
                    <a:pt x="420" y="412"/>
                  </a:lnTo>
                  <a:lnTo>
                    <a:pt x="424" y="422"/>
                  </a:lnTo>
                  <a:lnTo>
                    <a:pt x="442" y="424"/>
                  </a:lnTo>
                  <a:lnTo>
                    <a:pt x="440" y="428"/>
                  </a:lnTo>
                  <a:lnTo>
                    <a:pt x="446" y="430"/>
                  </a:lnTo>
                  <a:lnTo>
                    <a:pt x="448" y="450"/>
                  </a:lnTo>
                  <a:lnTo>
                    <a:pt x="460" y="464"/>
                  </a:lnTo>
                  <a:lnTo>
                    <a:pt x="484" y="468"/>
                  </a:lnTo>
                  <a:lnTo>
                    <a:pt x="488" y="474"/>
                  </a:lnTo>
                  <a:lnTo>
                    <a:pt x="574" y="504"/>
                  </a:lnTo>
                  <a:lnTo>
                    <a:pt x="570" y="542"/>
                  </a:lnTo>
                  <a:lnTo>
                    <a:pt x="580" y="518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" name="Freeform 242"/>
            <p:cNvSpPr>
              <a:spLocks/>
            </p:cNvSpPr>
            <p:nvPr/>
          </p:nvSpPr>
          <p:spPr bwMode="auto">
            <a:xfrm>
              <a:off x="4491038" y="1150760"/>
              <a:ext cx="763191" cy="883444"/>
            </a:xfrm>
            <a:custGeom>
              <a:avLst/>
              <a:gdLst>
                <a:gd name="T0" fmla="*/ 641 w 641"/>
                <a:gd name="T1" fmla="*/ 166 h 742"/>
                <a:gd name="T2" fmla="*/ 633 w 641"/>
                <a:gd name="T3" fmla="*/ 166 h 742"/>
                <a:gd name="T4" fmla="*/ 577 w 641"/>
                <a:gd name="T5" fmla="*/ 158 h 742"/>
                <a:gd name="T6" fmla="*/ 571 w 641"/>
                <a:gd name="T7" fmla="*/ 158 h 742"/>
                <a:gd name="T8" fmla="*/ 543 w 641"/>
                <a:gd name="T9" fmla="*/ 150 h 742"/>
                <a:gd name="T10" fmla="*/ 509 w 641"/>
                <a:gd name="T11" fmla="*/ 162 h 742"/>
                <a:gd name="T12" fmla="*/ 499 w 641"/>
                <a:gd name="T13" fmla="*/ 164 h 742"/>
                <a:gd name="T14" fmla="*/ 479 w 641"/>
                <a:gd name="T15" fmla="*/ 154 h 742"/>
                <a:gd name="T16" fmla="*/ 447 w 641"/>
                <a:gd name="T17" fmla="*/ 136 h 742"/>
                <a:gd name="T18" fmla="*/ 415 w 641"/>
                <a:gd name="T19" fmla="*/ 118 h 742"/>
                <a:gd name="T20" fmla="*/ 375 w 641"/>
                <a:gd name="T21" fmla="*/ 96 h 742"/>
                <a:gd name="T22" fmla="*/ 323 w 641"/>
                <a:gd name="T23" fmla="*/ 100 h 742"/>
                <a:gd name="T24" fmla="*/ 307 w 641"/>
                <a:gd name="T25" fmla="*/ 102 h 742"/>
                <a:gd name="T26" fmla="*/ 295 w 641"/>
                <a:gd name="T27" fmla="*/ 98 h 742"/>
                <a:gd name="T28" fmla="*/ 291 w 641"/>
                <a:gd name="T29" fmla="*/ 94 h 742"/>
                <a:gd name="T30" fmla="*/ 255 w 641"/>
                <a:gd name="T31" fmla="*/ 84 h 742"/>
                <a:gd name="T32" fmla="*/ 243 w 641"/>
                <a:gd name="T33" fmla="*/ 86 h 742"/>
                <a:gd name="T34" fmla="*/ 241 w 641"/>
                <a:gd name="T35" fmla="*/ 84 h 742"/>
                <a:gd name="T36" fmla="*/ 227 w 641"/>
                <a:gd name="T37" fmla="*/ 86 h 742"/>
                <a:gd name="T38" fmla="*/ 213 w 641"/>
                <a:gd name="T39" fmla="*/ 52 h 742"/>
                <a:gd name="T40" fmla="*/ 193 w 641"/>
                <a:gd name="T41" fmla="*/ 2 h 742"/>
                <a:gd name="T42" fmla="*/ 175 w 641"/>
                <a:gd name="T43" fmla="*/ 54 h 742"/>
                <a:gd name="T44" fmla="*/ 10 w 641"/>
                <a:gd name="T45" fmla="*/ 90 h 742"/>
                <a:gd name="T46" fmla="*/ 6 w 641"/>
                <a:gd name="T47" fmla="*/ 154 h 742"/>
                <a:gd name="T48" fmla="*/ 32 w 641"/>
                <a:gd name="T49" fmla="*/ 308 h 742"/>
                <a:gd name="T50" fmla="*/ 30 w 641"/>
                <a:gd name="T51" fmla="*/ 344 h 742"/>
                <a:gd name="T52" fmla="*/ 48 w 641"/>
                <a:gd name="T53" fmla="*/ 386 h 742"/>
                <a:gd name="T54" fmla="*/ 48 w 641"/>
                <a:gd name="T55" fmla="*/ 446 h 742"/>
                <a:gd name="T56" fmla="*/ 26 w 641"/>
                <a:gd name="T57" fmla="*/ 470 h 742"/>
                <a:gd name="T58" fmla="*/ 38 w 641"/>
                <a:gd name="T59" fmla="*/ 500 h 742"/>
                <a:gd name="T60" fmla="*/ 57 w 641"/>
                <a:gd name="T61" fmla="*/ 514 h 742"/>
                <a:gd name="T62" fmla="*/ 535 w 641"/>
                <a:gd name="T63" fmla="*/ 736 h 742"/>
                <a:gd name="T64" fmla="*/ 521 w 641"/>
                <a:gd name="T65" fmla="*/ 684 h 742"/>
                <a:gd name="T66" fmla="*/ 471 w 641"/>
                <a:gd name="T67" fmla="*/ 640 h 742"/>
                <a:gd name="T68" fmla="*/ 437 w 641"/>
                <a:gd name="T69" fmla="*/ 612 h 742"/>
                <a:gd name="T70" fmla="*/ 413 w 641"/>
                <a:gd name="T71" fmla="*/ 600 h 742"/>
                <a:gd name="T72" fmla="*/ 385 w 641"/>
                <a:gd name="T73" fmla="*/ 582 h 742"/>
                <a:gd name="T74" fmla="*/ 385 w 641"/>
                <a:gd name="T75" fmla="*/ 542 h 742"/>
                <a:gd name="T76" fmla="*/ 387 w 641"/>
                <a:gd name="T77" fmla="*/ 514 h 742"/>
                <a:gd name="T78" fmla="*/ 387 w 641"/>
                <a:gd name="T79" fmla="*/ 480 h 742"/>
                <a:gd name="T80" fmla="*/ 375 w 641"/>
                <a:gd name="T81" fmla="*/ 462 h 742"/>
                <a:gd name="T82" fmla="*/ 391 w 641"/>
                <a:gd name="T83" fmla="*/ 436 h 742"/>
                <a:gd name="T84" fmla="*/ 427 w 641"/>
                <a:gd name="T85" fmla="*/ 412 h 742"/>
                <a:gd name="T86" fmla="*/ 431 w 641"/>
                <a:gd name="T87" fmla="*/ 340 h 742"/>
                <a:gd name="T88" fmla="*/ 443 w 641"/>
                <a:gd name="T89" fmla="*/ 336 h 742"/>
                <a:gd name="T90" fmla="*/ 607 w 641"/>
                <a:gd name="T91" fmla="*/ 200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41" h="742">
                  <a:moveTo>
                    <a:pt x="607" y="200"/>
                  </a:moveTo>
                  <a:lnTo>
                    <a:pt x="641" y="166"/>
                  </a:lnTo>
                  <a:lnTo>
                    <a:pt x="641" y="166"/>
                  </a:lnTo>
                  <a:lnTo>
                    <a:pt x="633" y="166"/>
                  </a:lnTo>
                  <a:lnTo>
                    <a:pt x="611" y="158"/>
                  </a:lnTo>
                  <a:lnTo>
                    <a:pt x="577" y="158"/>
                  </a:lnTo>
                  <a:lnTo>
                    <a:pt x="571" y="158"/>
                  </a:lnTo>
                  <a:lnTo>
                    <a:pt x="571" y="158"/>
                  </a:lnTo>
                  <a:lnTo>
                    <a:pt x="571" y="158"/>
                  </a:lnTo>
                  <a:lnTo>
                    <a:pt x="543" y="150"/>
                  </a:lnTo>
                  <a:lnTo>
                    <a:pt x="529" y="150"/>
                  </a:lnTo>
                  <a:lnTo>
                    <a:pt x="509" y="162"/>
                  </a:lnTo>
                  <a:lnTo>
                    <a:pt x="499" y="164"/>
                  </a:lnTo>
                  <a:lnTo>
                    <a:pt x="499" y="164"/>
                  </a:lnTo>
                  <a:lnTo>
                    <a:pt x="499" y="164"/>
                  </a:lnTo>
                  <a:lnTo>
                    <a:pt x="479" y="154"/>
                  </a:lnTo>
                  <a:lnTo>
                    <a:pt x="467" y="140"/>
                  </a:lnTo>
                  <a:lnTo>
                    <a:pt x="447" y="136"/>
                  </a:lnTo>
                  <a:lnTo>
                    <a:pt x="437" y="126"/>
                  </a:lnTo>
                  <a:lnTo>
                    <a:pt x="415" y="118"/>
                  </a:lnTo>
                  <a:lnTo>
                    <a:pt x="405" y="108"/>
                  </a:lnTo>
                  <a:lnTo>
                    <a:pt x="375" y="96"/>
                  </a:lnTo>
                  <a:lnTo>
                    <a:pt x="335" y="92"/>
                  </a:lnTo>
                  <a:lnTo>
                    <a:pt x="323" y="100"/>
                  </a:lnTo>
                  <a:lnTo>
                    <a:pt x="307" y="102"/>
                  </a:lnTo>
                  <a:lnTo>
                    <a:pt x="307" y="102"/>
                  </a:lnTo>
                  <a:lnTo>
                    <a:pt x="307" y="102"/>
                  </a:lnTo>
                  <a:lnTo>
                    <a:pt x="295" y="98"/>
                  </a:lnTo>
                  <a:lnTo>
                    <a:pt x="295" y="96"/>
                  </a:lnTo>
                  <a:lnTo>
                    <a:pt x="291" y="94"/>
                  </a:lnTo>
                  <a:lnTo>
                    <a:pt x="265" y="84"/>
                  </a:lnTo>
                  <a:lnTo>
                    <a:pt x="255" y="84"/>
                  </a:lnTo>
                  <a:lnTo>
                    <a:pt x="243" y="86"/>
                  </a:lnTo>
                  <a:lnTo>
                    <a:pt x="243" y="86"/>
                  </a:lnTo>
                  <a:lnTo>
                    <a:pt x="243" y="86"/>
                  </a:lnTo>
                  <a:lnTo>
                    <a:pt x="241" y="84"/>
                  </a:lnTo>
                  <a:lnTo>
                    <a:pt x="229" y="86"/>
                  </a:lnTo>
                  <a:lnTo>
                    <a:pt x="227" y="86"/>
                  </a:lnTo>
                  <a:lnTo>
                    <a:pt x="227" y="86"/>
                  </a:lnTo>
                  <a:lnTo>
                    <a:pt x="213" y="52"/>
                  </a:lnTo>
                  <a:lnTo>
                    <a:pt x="211" y="50"/>
                  </a:lnTo>
                  <a:lnTo>
                    <a:pt x="193" y="2"/>
                  </a:lnTo>
                  <a:lnTo>
                    <a:pt x="175" y="0"/>
                  </a:lnTo>
                  <a:lnTo>
                    <a:pt x="175" y="54"/>
                  </a:lnTo>
                  <a:lnTo>
                    <a:pt x="0" y="52"/>
                  </a:lnTo>
                  <a:lnTo>
                    <a:pt x="10" y="90"/>
                  </a:lnTo>
                  <a:lnTo>
                    <a:pt x="6" y="104"/>
                  </a:lnTo>
                  <a:lnTo>
                    <a:pt x="6" y="154"/>
                  </a:lnTo>
                  <a:lnTo>
                    <a:pt x="28" y="224"/>
                  </a:lnTo>
                  <a:lnTo>
                    <a:pt x="32" y="308"/>
                  </a:lnTo>
                  <a:lnTo>
                    <a:pt x="36" y="310"/>
                  </a:lnTo>
                  <a:lnTo>
                    <a:pt x="30" y="344"/>
                  </a:lnTo>
                  <a:lnTo>
                    <a:pt x="38" y="370"/>
                  </a:lnTo>
                  <a:lnTo>
                    <a:pt x="48" y="386"/>
                  </a:lnTo>
                  <a:lnTo>
                    <a:pt x="50" y="434"/>
                  </a:lnTo>
                  <a:lnTo>
                    <a:pt x="48" y="446"/>
                  </a:lnTo>
                  <a:lnTo>
                    <a:pt x="42" y="458"/>
                  </a:lnTo>
                  <a:lnTo>
                    <a:pt x="26" y="470"/>
                  </a:lnTo>
                  <a:lnTo>
                    <a:pt x="24" y="476"/>
                  </a:lnTo>
                  <a:lnTo>
                    <a:pt x="38" y="500"/>
                  </a:lnTo>
                  <a:lnTo>
                    <a:pt x="52" y="504"/>
                  </a:lnTo>
                  <a:lnTo>
                    <a:pt x="57" y="514"/>
                  </a:lnTo>
                  <a:lnTo>
                    <a:pt x="56" y="742"/>
                  </a:lnTo>
                  <a:lnTo>
                    <a:pt x="535" y="736"/>
                  </a:lnTo>
                  <a:lnTo>
                    <a:pt x="529" y="700"/>
                  </a:lnTo>
                  <a:lnTo>
                    <a:pt x="521" y="684"/>
                  </a:lnTo>
                  <a:lnTo>
                    <a:pt x="477" y="656"/>
                  </a:lnTo>
                  <a:lnTo>
                    <a:pt x="471" y="640"/>
                  </a:lnTo>
                  <a:lnTo>
                    <a:pt x="453" y="620"/>
                  </a:lnTo>
                  <a:lnTo>
                    <a:pt x="437" y="612"/>
                  </a:lnTo>
                  <a:lnTo>
                    <a:pt x="423" y="614"/>
                  </a:lnTo>
                  <a:lnTo>
                    <a:pt x="413" y="600"/>
                  </a:lnTo>
                  <a:lnTo>
                    <a:pt x="393" y="594"/>
                  </a:lnTo>
                  <a:lnTo>
                    <a:pt x="385" y="582"/>
                  </a:lnTo>
                  <a:lnTo>
                    <a:pt x="389" y="560"/>
                  </a:lnTo>
                  <a:lnTo>
                    <a:pt x="385" y="542"/>
                  </a:lnTo>
                  <a:lnTo>
                    <a:pt x="389" y="536"/>
                  </a:lnTo>
                  <a:lnTo>
                    <a:pt x="387" y="514"/>
                  </a:lnTo>
                  <a:lnTo>
                    <a:pt x="397" y="498"/>
                  </a:lnTo>
                  <a:lnTo>
                    <a:pt x="387" y="480"/>
                  </a:lnTo>
                  <a:lnTo>
                    <a:pt x="375" y="478"/>
                  </a:lnTo>
                  <a:lnTo>
                    <a:pt x="375" y="462"/>
                  </a:lnTo>
                  <a:lnTo>
                    <a:pt x="383" y="454"/>
                  </a:lnTo>
                  <a:lnTo>
                    <a:pt x="391" y="436"/>
                  </a:lnTo>
                  <a:lnTo>
                    <a:pt x="421" y="420"/>
                  </a:lnTo>
                  <a:lnTo>
                    <a:pt x="427" y="412"/>
                  </a:lnTo>
                  <a:lnTo>
                    <a:pt x="425" y="340"/>
                  </a:lnTo>
                  <a:lnTo>
                    <a:pt x="431" y="340"/>
                  </a:lnTo>
                  <a:lnTo>
                    <a:pt x="435" y="330"/>
                  </a:lnTo>
                  <a:lnTo>
                    <a:pt x="443" y="336"/>
                  </a:lnTo>
                  <a:lnTo>
                    <a:pt x="577" y="212"/>
                  </a:lnTo>
                  <a:lnTo>
                    <a:pt x="607" y="20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" name="Freeform 243"/>
            <p:cNvSpPr>
              <a:spLocks/>
            </p:cNvSpPr>
            <p:nvPr/>
          </p:nvSpPr>
          <p:spPr bwMode="auto">
            <a:xfrm>
              <a:off x="5192317" y="1410316"/>
              <a:ext cx="683419" cy="352425"/>
            </a:xfrm>
            <a:custGeom>
              <a:avLst/>
              <a:gdLst>
                <a:gd name="T0" fmla="*/ 330 w 574"/>
                <a:gd name="T1" fmla="*/ 206 h 296"/>
                <a:gd name="T2" fmla="*/ 342 w 574"/>
                <a:gd name="T3" fmla="*/ 226 h 296"/>
                <a:gd name="T4" fmla="*/ 376 w 574"/>
                <a:gd name="T5" fmla="*/ 192 h 296"/>
                <a:gd name="T6" fmla="*/ 432 w 574"/>
                <a:gd name="T7" fmla="*/ 162 h 296"/>
                <a:gd name="T8" fmla="*/ 494 w 574"/>
                <a:gd name="T9" fmla="*/ 168 h 296"/>
                <a:gd name="T10" fmla="*/ 514 w 574"/>
                <a:gd name="T11" fmla="*/ 176 h 296"/>
                <a:gd name="T12" fmla="*/ 518 w 574"/>
                <a:gd name="T13" fmla="*/ 156 h 296"/>
                <a:gd name="T14" fmla="*/ 534 w 574"/>
                <a:gd name="T15" fmla="*/ 168 h 296"/>
                <a:gd name="T16" fmla="*/ 574 w 574"/>
                <a:gd name="T17" fmla="*/ 156 h 296"/>
                <a:gd name="T18" fmla="*/ 562 w 574"/>
                <a:gd name="T19" fmla="*/ 146 h 296"/>
                <a:gd name="T20" fmla="*/ 546 w 574"/>
                <a:gd name="T21" fmla="*/ 134 h 296"/>
                <a:gd name="T22" fmla="*/ 538 w 574"/>
                <a:gd name="T23" fmla="*/ 108 h 296"/>
                <a:gd name="T24" fmla="*/ 532 w 574"/>
                <a:gd name="T25" fmla="*/ 96 h 296"/>
                <a:gd name="T26" fmla="*/ 496 w 574"/>
                <a:gd name="T27" fmla="*/ 102 h 296"/>
                <a:gd name="T28" fmla="*/ 468 w 574"/>
                <a:gd name="T29" fmla="*/ 78 h 296"/>
                <a:gd name="T30" fmla="*/ 450 w 574"/>
                <a:gd name="T31" fmla="*/ 70 h 296"/>
                <a:gd name="T32" fmla="*/ 372 w 574"/>
                <a:gd name="T33" fmla="*/ 88 h 296"/>
                <a:gd name="T34" fmla="*/ 334 w 574"/>
                <a:gd name="T35" fmla="*/ 118 h 296"/>
                <a:gd name="T36" fmla="*/ 288 w 574"/>
                <a:gd name="T37" fmla="*/ 118 h 296"/>
                <a:gd name="T38" fmla="*/ 242 w 574"/>
                <a:gd name="T39" fmla="*/ 90 h 296"/>
                <a:gd name="T40" fmla="*/ 188 w 574"/>
                <a:gd name="T41" fmla="*/ 84 h 296"/>
                <a:gd name="T42" fmla="*/ 168 w 574"/>
                <a:gd name="T43" fmla="*/ 94 h 296"/>
                <a:gd name="T44" fmla="*/ 174 w 574"/>
                <a:gd name="T45" fmla="*/ 58 h 296"/>
                <a:gd name="T46" fmla="*/ 222 w 574"/>
                <a:gd name="T47" fmla="*/ 8 h 296"/>
                <a:gd name="T48" fmla="*/ 202 w 574"/>
                <a:gd name="T49" fmla="*/ 2 h 296"/>
                <a:gd name="T50" fmla="*/ 50 w 574"/>
                <a:gd name="T51" fmla="*/ 100 h 296"/>
                <a:gd name="T52" fmla="*/ 0 w 574"/>
                <a:gd name="T53" fmla="*/ 126 h 296"/>
                <a:gd name="T54" fmla="*/ 8 w 574"/>
                <a:gd name="T55" fmla="*/ 128 h 296"/>
                <a:gd name="T56" fmla="*/ 28 w 574"/>
                <a:gd name="T57" fmla="*/ 156 h 296"/>
                <a:gd name="T58" fmla="*/ 170 w 574"/>
                <a:gd name="T59" fmla="*/ 186 h 296"/>
                <a:gd name="T60" fmla="*/ 210 w 574"/>
                <a:gd name="T61" fmla="*/ 202 h 296"/>
                <a:gd name="T62" fmla="*/ 228 w 574"/>
                <a:gd name="T63" fmla="*/ 216 h 296"/>
                <a:gd name="T64" fmla="*/ 236 w 574"/>
                <a:gd name="T65" fmla="*/ 228 h 296"/>
                <a:gd name="T66" fmla="*/ 236 w 574"/>
                <a:gd name="T67" fmla="*/ 240 h 296"/>
                <a:gd name="T68" fmla="*/ 234 w 574"/>
                <a:gd name="T69" fmla="*/ 256 h 296"/>
                <a:gd name="T70" fmla="*/ 252 w 574"/>
                <a:gd name="T71" fmla="*/ 262 h 296"/>
                <a:gd name="T72" fmla="*/ 248 w 574"/>
                <a:gd name="T73" fmla="*/ 286 h 296"/>
                <a:gd name="T74" fmla="*/ 260 w 574"/>
                <a:gd name="T75" fmla="*/ 296 h 296"/>
                <a:gd name="T76" fmla="*/ 312 w 574"/>
                <a:gd name="T77" fmla="*/ 212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4" h="296">
                  <a:moveTo>
                    <a:pt x="318" y="212"/>
                  </a:moveTo>
                  <a:lnTo>
                    <a:pt x="330" y="206"/>
                  </a:lnTo>
                  <a:lnTo>
                    <a:pt x="340" y="194"/>
                  </a:lnTo>
                  <a:lnTo>
                    <a:pt x="342" y="226"/>
                  </a:lnTo>
                  <a:lnTo>
                    <a:pt x="350" y="224"/>
                  </a:lnTo>
                  <a:lnTo>
                    <a:pt x="376" y="192"/>
                  </a:lnTo>
                  <a:lnTo>
                    <a:pt x="422" y="176"/>
                  </a:lnTo>
                  <a:lnTo>
                    <a:pt x="432" y="162"/>
                  </a:lnTo>
                  <a:lnTo>
                    <a:pt x="452" y="156"/>
                  </a:lnTo>
                  <a:lnTo>
                    <a:pt x="494" y="168"/>
                  </a:lnTo>
                  <a:lnTo>
                    <a:pt x="502" y="176"/>
                  </a:lnTo>
                  <a:lnTo>
                    <a:pt x="514" y="176"/>
                  </a:lnTo>
                  <a:lnTo>
                    <a:pt x="514" y="164"/>
                  </a:lnTo>
                  <a:lnTo>
                    <a:pt x="518" y="156"/>
                  </a:lnTo>
                  <a:lnTo>
                    <a:pt x="526" y="160"/>
                  </a:lnTo>
                  <a:lnTo>
                    <a:pt x="534" y="168"/>
                  </a:lnTo>
                  <a:lnTo>
                    <a:pt x="574" y="156"/>
                  </a:lnTo>
                  <a:lnTo>
                    <a:pt x="574" y="156"/>
                  </a:lnTo>
                  <a:lnTo>
                    <a:pt x="572" y="150"/>
                  </a:lnTo>
                  <a:lnTo>
                    <a:pt x="562" y="146"/>
                  </a:lnTo>
                  <a:lnTo>
                    <a:pt x="556" y="138"/>
                  </a:lnTo>
                  <a:lnTo>
                    <a:pt x="546" y="134"/>
                  </a:lnTo>
                  <a:lnTo>
                    <a:pt x="542" y="116"/>
                  </a:lnTo>
                  <a:lnTo>
                    <a:pt x="538" y="108"/>
                  </a:lnTo>
                  <a:lnTo>
                    <a:pt x="536" y="100"/>
                  </a:lnTo>
                  <a:lnTo>
                    <a:pt x="532" y="96"/>
                  </a:lnTo>
                  <a:lnTo>
                    <a:pt x="530" y="96"/>
                  </a:lnTo>
                  <a:lnTo>
                    <a:pt x="496" y="102"/>
                  </a:lnTo>
                  <a:lnTo>
                    <a:pt x="470" y="96"/>
                  </a:lnTo>
                  <a:lnTo>
                    <a:pt x="468" y="78"/>
                  </a:lnTo>
                  <a:lnTo>
                    <a:pt x="462" y="70"/>
                  </a:lnTo>
                  <a:lnTo>
                    <a:pt x="450" y="70"/>
                  </a:lnTo>
                  <a:lnTo>
                    <a:pt x="434" y="80"/>
                  </a:lnTo>
                  <a:lnTo>
                    <a:pt x="372" y="88"/>
                  </a:lnTo>
                  <a:lnTo>
                    <a:pt x="344" y="106"/>
                  </a:lnTo>
                  <a:lnTo>
                    <a:pt x="334" y="118"/>
                  </a:lnTo>
                  <a:lnTo>
                    <a:pt x="326" y="122"/>
                  </a:lnTo>
                  <a:lnTo>
                    <a:pt x="288" y="118"/>
                  </a:lnTo>
                  <a:lnTo>
                    <a:pt x="272" y="122"/>
                  </a:lnTo>
                  <a:lnTo>
                    <a:pt x="242" y="90"/>
                  </a:lnTo>
                  <a:lnTo>
                    <a:pt x="212" y="76"/>
                  </a:lnTo>
                  <a:lnTo>
                    <a:pt x="188" y="84"/>
                  </a:lnTo>
                  <a:lnTo>
                    <a:pt x="180" y="82"/>
                  </a:lnTo>
                  <a:lnTo>
                    <a:pt x="168" y="94"/>
                  </a:lnTo>
                  <a:lnTo>
                    <a:pt x="168" y="70"/>
                  </a:lnTo>
                  <a:lnTo>
                    <a:pt x="174" y="58"/>
                  </a:lnTo>
                  <a:lnTo>
                    <a:pt x="184" y="52"/>
                  </a:lnTo>
                  <a:lnTo>
                    <a:pt x="222" y="8"/>
                  </a:lnTo>
                  <a:lnTo>
                    <a:pt x="222" y="0"/>
                  </a:lnTo>
                  <a:lnTo>
                    <a:pt x="202" y="2"/>
                  </a:lnTo>
                  <a:lnTo>
                    <a:pt x="94" y="86"/>
                  </a:lnTo>
                  <a:lnTo>
                    <a:pt x="50" y="100"/>
                  </a:lnTo>
                  <a:lnTo>
                    <a:pt x="22" y="122"/>
                  </a:lnTo>
                  <a:lnTo>
                    <a:pt x="0" y="126"/>
                  </a:lnTo>
                  <a:lnTo>
                    <a:pt x="2" y="130"/>
                  </a:lnTo>
                  <a:lnTo>
                    <a:pt x="8" y="128"/>
                  </a:lnTo>
                  <a:lnTo>
                    <a:pt x="18" y="134"/>
                  </a:lnTo>
                  <a:lnTo>
                    <a:pt x="28" y="156"/>
                  </a:lnTo>
                  <a:lnTo>
                    <a:pt x="160" y="190"/>
                  </a:lnTo>
                  <a:lnTo>
                    <a:pt x="170" y="186"/>
                  </a:lnTo>
                  <a:lnTo>
                    <a:pt x="208" y="196"/>
                  </a:lnTo>
                  <a:lnTo>
                    <a:pt x="210" y="202"/>
                  </a:lnTo>
                  <a:lnTo>
                    <a:pt x="208" y="212"/>
                  </a:lnTo>
                  <a:lnTo>
                    <a:pt x="228" y="216"/>
                  </a:lnTo>
                  <a:lnTo>
                    <a:pt x="238" y="224"/>
                  </a:lnTo>
                  <a:lnTo>
                    <a:pt x="236" y="228"/>
                  </a:lnTo>
                  <a:lnTo>
                    <a:pt x="240" y="236"/>
                  </a:lnTo>
                  <a:lnTo>
                    <a:pt x="236" y="240"/>
                  </a:lnTo>
                  <a:lnTo>
                    <a:pt x="240" y="248"/>
                  </a:lnTo>
                  <a:lnTo>
                    <a:pt x="234" y="256"/>
                  </a:lnTo>
                  <a:lnTo>
                    <a:pt x="234" y="264"/>
                  </a:lnTo>
                  <a:lnTo>
                    <a:pt x="252" y="262"/>
                  </a:lnTo>
                  <a:lnTo>
                    <a:pt x="254" y="266"/>
                  </a:lnTo>
                  <a:lnTo>
                    <a:pt x="248" y="286"/>
                  </a:lnTo>
                  <a:lnTo>
                    <a:pt x="262" y="296"/>
                  </a:lnTo>
                  <a:lnTo>
                    <a:pt x="260" y="296"/>
                  </a:lnTo>
                  <a:lnTo>
                    <a:pt x="266" y="296"/>
                  </a:lnTo>
                  <a:lnTo>
                    <a:pt x="312" y="212"/>
                  </a:lnTo>
                  <a:lnTo>
                    <a:pt x="318" y="212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" name="Freeform 244"/>
            <p:cNvSpPr>
              <a:spLocks/>
            </p:cNvSpPr>
            <p:nvPr/>
          </p:nvSpPr>
          <p:spPr bwMode="auto">
            <a:xfrm>
              <a:off x="5618560" y="1646060"/>
              <a:ext cx="471488" cy="611981"/>
            </a:xfrm>
            <a:custGeom>
              <a:avLst/>
              <a:gdLst>
                <a:gd name="T0" fmla="*/ 354 w 396"/>
                <a:gd name="T1" fmla="*/ 450 h 514"/>
                <a:gd name="T2" fmla="*/ 358 w 396"/>
                <a:gd name="T3" fmla="*/ 410 h 514"/>
                <a:gd name="T4" fmla="*/ 364 w 396"/>
                <a:gd name="T5" fmla="*/ 388 h 514"/>
                <a:gd name="T6" fmla="*/ 376 w 396"/>
                <a:gd name="T7" fmla="*/ 366 h 514"/>
                <a:gd name="T8" fmla="*/ 396 w 396"/>
                <a:gd name="T9" fmla="*/ 302 h 514"/>
                <a:gd name="T10" fmla="*/ 386 w 396"/>
                <a:gd name="T11" fmla="*/ 286 h 514"/>
                <a:gd name="T12" fmla="*/ 338 w 396"/>
                <a:gd name="T13" fmla="*/ 184 h 514"/>
                <a:gd name="T14" fmla="*/ 296 w 396"/>
                <a:gd name="T15" fmla="*/ 206 h 514"/>
                <a:gd name="T16" fmla="*/ 268 w 396"/>
                <a:gd name="T17" fmla="*/ 248 h 514"/>
                <a:gd name="T18" fmla="*/ 252 w 396"/>
                <a:gd name="T19" fmla="*/ 240 h 514"/>
                <a:gd name="T20" fmla="*/ 282 w 396"/>
                <a:gd name="T21" fmla="*/ 184 h 514"/>
                <a:gd name="T22" fmla="*/ 294 w 396"/>
                <a:gd name="T23" fmla="*/ 156 h 514"/>
                <a:gd name="T24" fmla="*/ 284 w 396"/>
                <a:gd name="T25" fmla="*/ 96 h 514"/>
                <a:gd name="T26" fmla="*/ 276 w 396"/>
                <a:gd name="T27" fmla="*/ 72 h 514"/>
                <a:gd name="T28" fmla="*/ 282 w 396"/>
                <a:gd name="T29" fmla="*/ 64 h 514"/>
                <a:gd name="T30" fmla="*/ 256 w 396"/>
                <a:gd name="T31" fmla="*/ 34 h 514"/>
                <a:gd name="T32" fmla="*/ 220 w 396"/>
                <a:gd name="T33" fmla="*/ 22 h 514"/>
                <a:gd name="T34" fmla="*/ 190 w 396"/>
                <a:gd name="T35" fmla="*/ 4 h 514"/>
                <a:gd name="T36" fmla="*/ 170 w 396"/>
                <a:gd name="T37" fmla="*/ 6 h 514"/>
                <a:gd name="T38" fmla="*/ 148 w 396"/>
                <a:gd name="T39" fmla="*/ 0 h 514"/>
                <a:gd name="T40" fmla="*/ 122 w 396"/>
                <a:gd name="T41" fmla="*/ 14 h 514"/>
                <a:gd name="T42" fmla="*/ 134 w 396"/>
                <a:gd name="T43" fmla="*/ 42 h 514"/>
                <a:gd name="T44" fmla="*/ 98 w 396"/>
                <a:gd name="T45" fmla="*/ 62 h 514"/>
                <a:gd name="T46" fmla="*/ 90 w 396"/>
                <a:gd name="T47" fmla="*/ 106 h 514"/>
                <a:gd name="T48" fmla="*/ 82 w 396"/>
                <a:gd name="T49" fmla="*/ 112 h 514"/>
                <a:gd name="T50" fmla="*/ 74 w 396"/>
                <a:gd name="T51" fmla="*/ 82 h 514"/>
                <a:gd name="T52" fmla="*/ 58 w 396"/>
                <a:gd name="T53" fmla="*/ 98 h 514"/>
                <a:gd name="T54" fmla="*/ 36 w 396"/>
                <a:gd name="T55" fmla="*/ 130 h 514"/>
                <a:gd name="T56" fmla="*/ 28 w 396"/>
                <a:gd name="T57" fmla="*/ 190 h 514"/>
                <a:gd name="T58" fmla="*/ 22 w 396"/>
                <a:gd name="T59" fmla="*/ 204 h 514"/>
                <a:gd name="T60" fmla="*/ 48 w 396"/>
                <a:gd name="T61" fmla="*/ 342 h 514"/>
                <a:gd name="T62" fmla="*/ 22 w 396"/>
                <a:gd name="T63" fmla="*/ 498 h 514"/>
                <a:gd name="T64" fmla="*/ 198 w 396"/>
                <a:gd name="T65" fmla="*/ 496 h 514"/>
                <a:gd name="T66" fmla="*/ 328 w 396"/>
                <a:gd name="T67" fmla="*/ 488 h 514"/>
                <a:gd name="T68" fmla="*/ 354 w 396"/>
                <a:gd name="T69" fmla="*/ 45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6" h="514">
                  <a:moveTo>
                    <a:pt x="354" y="450"/>
                  </a:moveTo>
                  <a:lnTo>
                    <a:pt x="354" y="450"/>
                  </a:lnTo>
                  <a:lnTo>
                    <a:pt x="352" y="430"/>
                  </a:lnTo>
                  <a:lnTo>
                    <a:pt x="358" y="410"/>
                  </a:lnTo>
                  <a:lnTo>
                    <a:pt x="366" y="398"/>
                  </a:lnTo>
                  <a:lnTo>
                    <a:pt x="364" y="388"/>
                  </a:lnTo>
                  <a:lnTo>
                    <a:pt x="366" y="378"/>
                  </a:lnTo>
                  <a:lnTo>
                    <a:pt x="376" y="366"/>
                  </a:lnTo>
                  <a:lnTo>
                    <a:pt x="396" y="364"/>
                  </a:lnTo>
                  <a:lnTo>
                    <a:pt x="396" y="302"/>
                  </a:lnTo>
                  <a:lnTo>
                    <a:pt x="392" y="296"/>
                  </a:lnTo>
                  <a:lnTo>
                    <a:pt x="386" y="286"/>
                  </a:lnTo>
                  <a:lnTo>
                    <a:pt x="372" y="232"/>
                  </a:lnTo>
                  <a:lnTo>
                    <a:pt x="338" y="184"/>
                  </a:lnTo>
                  <a:lnTo>
                    <a:pt x="298" y="202"/>
                  </a:lnTo>
                  <a:lnTo>
                    <a:pt x="296" y="206"/>
                  </a:lnTo>
                  <a:lnTo>
                    <a:pt x="288" y="234"/>
                  </a:lnTo>
                  <a:lnTo>
                    <a:pt x="268" y="248"/>
                  </a:lnTo>
                  <a:lnTo>
                    <a:pt x="256" y="246"/>
                  </a:lnTo>
                  <a:lnTo>
                    <a:pt x="252" y="240"/>
                  </a:lnTo>
                  <a:lnTo>
                    <a:pt x="260" y="206"/>
                  </a:lnTo>
                  <a:lnTo>
                    <a:pt x="282" y="184"/>
                  </a:lnTo>
                  <a:lnTo>
                    <a:pt x="286" y="168"/>
                  </a:lnTo>
                  <a:lnTo>
                    <a:pt x="294" y="156"/>
                  </a:lnTo>
                  <a:lnTo>
                    <a:pt x="298" y="146"/>
                  </a:lnTo>
                  <a:lnTo>
                    <a:pt x="284" y="96"/>
                  </a:lnTo>
                  <a:lnTo>
                    <a:pt x="278" y="84"/>
                  </a:lnTo>
                  <a:lnTo>
                    <a:pt x="276" y="72"/>
                  </a:lnTo>
                  <a:lnTo>
                    <a:pt x="280" y="64"/>
                  </a:lnTo>
                  <a:lnTo>
                    <a:pt x="282" y="64"/>
                  </a:lnTo>
                  <a:lnTo>
                    <a:pt x="268" y="44"/>
                  </a:lnTo>
                  <a:lnTo>
                    <a:pt x="256" y="34"/>
                  </a:lnTo>
                  <a:lnTo>
                    <a:pt x="230" y="28"/>
                  </a:lnTo>
                  <a:lnTo>
                    <a:pt x="220" y="22"/>
                  </a:lnTo>
                  <a:lnTo>
                    <a:pt x="212" y="20"/>
                  </a:lnTo>
                  <a:lnTo>
                    <a:pt x="190" y="4"/>
                  </a:lnTo>
                  <a:lnTo>
                    <a:pt x="180" y="2"/>
                  </a:lnTo>
                  <a:lnTo>
                    <a:pt x="170" y="6"/>
                  </a:lnTo>
                  <a:lnTo>
                    <a:pt x="166" y="2"/>
                  </a:lnTo>
                  <a:lnTo>
                    <a:pt x="148" y="0"/>
                  </a:lnTo>
                  <a:lnTo>
                    <a:pt x="130" y="2"/>
                  </a:lnTo>
                  <a:lnTo>
                    <a:pt x="122" y="14"/>
                  </a:lnTo>
                  <a:lnTo>
                    <a:pt x="126" y="32"/>
                  </a:lnTo>
                  <a:lnTo>
                    <a:pt x="134" y="42"/>
                  </a:lnTo>
                  <a:lnTo>
                    <a:pt x="132" y="46"/>
                  </a:lnTo>
                  <a:lnTo>
                    <a:pt x="98" y="62"/>
                  </a:lnTo>
                  <a:lnTo>
                    <a:pt x="98" y="104"/>
                  </a:lnTo>
                  <a:lnTo>
                    <a:pt x="90" y="106"/>
                  </a:lnTo>
                  <a:lnTo>
                    <a:pt x="84" y="118"/>
                  </a:lnTo>
                  <a:lnTo>
                    <a:pt x="82" y="112"/>
                  </a:lnTo>
                  <a:lnTo>
                    <a:pt x="78" y="90"/>
                  </a:lnTo>
                  <a:lnTo>
                    <a:pt x="74" y="82"/>
                  </a:lnTo>
                  <a:lnTo>
                    <a:pt x="66" y="88"/>
                  </a:lnTo>
                  <a:lnTo>
                    <a:pt x="58" y="98"/>
                  </a:lnTo>
                  <a:lnTo>
                    <a:pt x="38" y="114"/>
                  </a:lnTo>
                  <a:lnTo>
                    <a:pt x="36" y="130"/>
                  </a:lnTo>
                  <a:lnTo>
                    <a:pt x="28" y="142"/>
                  </a:lnTo>
                  <a:lnTo>
                    <a:pt x="28" y="190"/>
                  </a:lnTo>
                  <a:lnTo>
                    <a:pt x="30" y="196"/>
                  </a:lnTo>
                  <a:lnTo>
                    <a:pt x="22" y="204"/>
                  </a:lnTo>
                  <a:lnTo>
                    <a:pt x="14" y="272"/>
                  </a:lnTo>
                  <a:lnTo>
                    <a:pt x="48" y="342"/>
                  </a:lnTo>
                  <a:lnTo>
                    <a:pt x="50" y="400"/>
                  </a:lnTo>
                  <a:lnTo>
                    <a:pt x="22" y="498"/>
                  </a:lnTo>
                  <a:lnTo>
                    <a:pt x="0" y="514"/>
                  </a:lnTo>
                  <a:lnTo>
                    <a:pt x="198" y="496"/>
                  </a:lnTo>
                  <a:lnTo>
                    <a:pt x="198" y="504"/>
                  </a:lnTo>
                  <a:lnTo>
                    <a:pt x="328" y="488"/>
                  </a:lnTo>
                  <a:lnTo>
                    <a:pt x="354" y="450"/>
                  </a:lnTo>
                  <a:lnTo>
                    <a:pt x="354" y="45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" name="Freeform 245"/>
            <p:cNvSpPr>
              <a:spLocks/>
            </p:cNvSpPr>
            <p:nvPr/>
          </p:nvSpPr>
          <p:spPr bwMode="auto">
            <a:xfrm>
              <a:off x="7094935" y="1943715"/>
              <a:ext cx="204788" cy="197644"/>
            </a:xfrm>
            <a:custGeom>
              <a:avLst/>
              <a:gdLst>
                <a:gd name="T0" fmla="*/ 14 w 172"/>
                <a:gd name="T1" fmla="*/ 166 h 166"/>
                <a:gd name="T2" fmla="*/ 68 w 172"/>
                <a:gd name="T3" fmla="*/ 134 h 166"/>
                <a:gd name="T4" fmla="*/ 72 w 172"/>
                <a:gd name="T5" fmla="*/ 122 h 166"/>
                <a:gd name="T6" fmla="*/ 84 w 172"/>
                <a:gd name="T7" fmla="*/ 112 h 166"/>
                <a:gd name="T8" fmla="*/ 108 w 172"/>
                <a:gd name="T9" fmla="*/ 112 h 166"/>
                <a:gd name="T10" fmla="*/ 172 w 172"/>
                <a:gd name="T11" fmla="*/ 88 h 166"/>
                <a:gd name="T12" fmla="*/ 170 w 172"/>
                <a:gd name="T13" fmla="*/ 78 h 166"/>
                <a:gd name="T14" fmla="*/ 172 w 172"/>
                <a:gd name="T15" fmla="*/ 76 h 166"/>
                <a:gd name="T16" fmla="*/ 154 w 172"/>
                <a:gd name="T17" fmla="*/ 0 h 166"/>
                <a:gd name="T18" fmla="*/ 68 w 172"/>
                <a:gd name="T19" fmla="*/ 20 h 166"/>
                <a:gd name="T20" fmla="*/ 66 w 172"/>
                <a:gd name="T21" fmla="*/ 26 h 166"/>
                <a:gd name="T22" fmla="*/ 62 w 172"/>
                <a:gd name="T23" fmla="*/ 22 h 166"/>
                <a:gd name="T24" fmla="*/ 0 w 172"/>
                <a:gd name="T25" fmla="*/ 36 h 166"/>
                <a:gd name="T26" fmla="*/ 14 w 172"/>
                <a:gd name="T27" fmla="*/ 128 h 166"/>
                <a:gd name="T28" fmla="*/ 24 w 172"/>
                <a:gd name="T29" fmla="*/ 138 h 166"/>
                <a:gd name="T30" fmla="*/ 4 w 172"/>
                <a:gd name="T31" fmla="*/ 156 h 166"/>
                <a:gd name="T32" fmla="*/ 14 w 172"/>
                <a:gd name="T33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166">
                  <a:moveTo>
                    <a:pt x="14" y="166"/>
                  </a:moveTo>
                  <a:lnTo>
                    <a:pt x="68" y="134"/>
                  </a:lnTo>
                  <a:lnTo>
                    <a:pt x="72" y="122"/>
                  </a:lnTo>
                  <a:lnTo>
                    <a:pt x="84" y="112"/>
                  </a:lnTo>
                  <a:lnTo>
                    <a:pt x="108" y="112"/>
                  </a:lnTo>
                  <a:lnTo>
                    <a:pt x="172" y="88"/>
                  </a:lnTo>
                  <a:lnTo>
                    <a:pt x="170" y="78"/>
                  </a:lnTo>
                  <a:lnTo>
                    <a:pt x="172" y="76"/>
                  </a:lnTo>
                  <a:lnTo>
                    <a:pt x="154" y="0"/>
                  </a:lnTo>
                  <a:lnTo>
                    <a:pt x="68" y="20"/>
                  </a:lnTo>
                  <a:lnTo>
                    <a:pt x="66" y="26"/>
                  </a:lnTo>
                  <a:lnTo>
                    <a:pt x="62" y="22"/>
                  </a:lnTo>
                  <a:lnTo>
                    <a:pt x="0" y="36"/>
                  </a:lnTo>
                  <a:lnTo>
                    <a:pt x="14" y="128"/>
                  </a:lnTo>
                  <a:lnTo>
                    <a:pt x="24" y="138"/>
                  </a:lnTo>
                  <a:lnTo>
                    <a:pt x="4" y="156"/>
                  </a:lnTo>
                  <a:lnTo>
                    <a:pt x="14" y="16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" name="Freeform 246"/>
            <p:cNvSpPr>
              <a:spLocks/>
            </p:cNvSpPr>
            <p:nvPr/>
          </p:nvSpPr>
          <p:spPr bwMode="auto">
            <a:xfrm>
              <a:off x="6494861" y="2384248"/>
              <a:ext cx="542925" cy="259556"/>
            </a:xfrm>
            <a:custGeom>
              <a:avLst/>
              <a:gdLst>
                <a:gd name="T0" fmla="*/ 0 w 456"/>
                <a:gd name="T1" fmla="*/ 66 h 218"/>
                <a:gd name="T2" fmla="*/ 10 w 456"/>
                <a:gd name="T3" fmla="*/ 132 h 218"/>
                <a:gd name="T4" fmla="*/ 42 w 456"/>
                <a:gd name="T5" fmla="*/ 92 h 218"/>
                <a:gd name="T6" fmla="*/ 56 w 456"/>
                <a:gd name="T7" fmla="*/ 92 h 218"/>
                <a:gd name="T8" fmla="*/ 70 w 456"/>
                <a:gd name="T9" fmla="*/ 64 h 218"/>
                <a:gd name="T10" fmla="*/ 74 w 456"/>
                <a:gd name="T11" fmla="*/ 72 h 218"/>
                <a:gd name="T12" fmla="*/ 102 w 456"/>
                <a:gd name="T13" fmla="*/ 74 h 218"/>
                <a:gd name="T14" fmla="*/ 102 w 456"/>
                <a:gd name="T15" fmla="*/ 66 h 218"/>
                <a:gd name="T16" fmla="*/ 104 w 456"/>
                <a:gd name="T17" fmla="*/ 62 h 218"/>
                <a:gd name="T18" fmla="*/ 126 w 456"/>
                <a:gd name="T19" fmla="*/ 48 h 218"/>
                <a:gd name="T20" fmla="*/ 160 w 456"/>
                <a:gd name="T21" fmla="*/ 52 h 218"/>
                <a:gd name="T22" fmla="*/ 158 w 456"/>
                <a:gd name="T23" fmla="*/ 60 h 218"/>
                <a:gd name="T24" fmla="*/ 164 w 456"/>
                <a:gd name="T25" fmla="*/ 62 h 218"/>
                <a:gd name="T26" fmla="*/ 170 w 456"/>
                <a:gd name="T27" fmla="*/ 66 h 218"/>
                <a:gd name="T28" fmla="*/ 174 w 456"/>
                <a:gd name="T29" fmla="*/ 76 h 218"/>
                <a:gd name="T30" fmla="*/ 194 w 456"/>
                <a:gd name="T31" fmla="*/ 86 h 218"/>
                <a:gd name="T32" fmla="*/ 202 w 456"/>
                <a:gd name="T33" fmla="*/ 106 h 218"/>
                <a:gd name="T34" fmla="*/ 228 w 456"/>
                <a:gd name="T35" fmla="*/ 114 h 218"/>
                <a:gd name="T36" fmla="*/ 244 w 456"/>
                <a:gd name="T37" fmla="*/ 124 h 218"/>
                <a:gd name="T38" fmla="*/ 254 w 456"/>
                <a:gd name="T39" fmla="*/ 132 h 218"/>
                <a:gd name="T40" fmla="*/ 258 w 456"/>
                <a:gd name="T41" fmla="*/ 148 h 218"/>
                <a:gd name="T42" fmla="*/ 250 w 456"/>
                <a:gd name="T43" fmla="*/ 166 h 218"/>
                <a:gd name="T44" fmla="*/ 248 w 456"/>
                <a:gd name="T45" fmla="*/ 184 h 218"/>
                <a:gd name="T46" fmla="*/ 266 w 456"/>
                <a:gd name="T47" fmla="*/ 188 h 218"/>
                <a:gd name="T48" fmla="*/ 298 w 456"/>
                <a:gd name="T49" fmla="*/ 192 h 218"/>
                <a:gd name="T50" fmla="*/ 320 w 456"/>
                <a:gd name="T51" fmla="*/ 200 h 218"/>
                <a:gd name="T52" fmla="*/ 344 w 456"/>
                <a:gd name="T53" fmla="*/ 212 h 218"/>
                <a:gd name="T54" fmla="*/ 316 w 456"/>
                <a:gd name="T55" fmla="*/ 174 h 218"/>
                <a:gd name="T56" fmla="*/ 324 w 456"/>
                <a:gd name="T57" fmla="*/ 170 h 218"/>
                <a:gd name="T58" fmla="*/ 308 w 456"/>
                <a:gd name="T59" fmla="*/ 92 h 218"/>
                <a:gd name="T60" fmla="*/ 332 w 456"/>
                <a:gd name="T61" fmla="*/ 46 h 218"/>
                <a:gd name="T62" fmla="*/ 344 w 456"/>
                <a:gd name="T63" fmla="*/ 22 h 218"/>
                <a:gd name="T64" fmla="*/ 350 w 456"/>
                <a:gd name="T65" fmla="*/ 30 h 218"/>
                <a:gd name="T66" fmla="*/ 346 w 456"/>
                <a:gd name="T67" fmla="*/ 48 h 218"/>
                <a:gd name="T68" fmla="*/ 334 w 456"/>
                <a:gd name="T69" fmla="*/ 66 h 218"/>
                <a:gd name="T70" fmla="*/ 340 w 456"/>
                <a:gd name="T71" fmla="*/ 84 h 218"/>
                <a:gd name="T72" fmla="*/ 330 w 456"/>
                <a:gd name="T73" fmla="*/ 108 h 218"/>
                <a:gd name="T74" fmla="*/ 344 w 456"/>
                <a:gd name="T75" fmla="*/ 110 h 218"/>
                <a:gd name="T76" fmla="*/ 354 w 456"/>
                <a:gd name="T77" fmla="*/ 140 h 218"/>
                <a:gd name="T78" fmla="*/ 344 w 456"/>
                <a:gd name="T79" fmla="*/ 154 h 218"/>
                <a:gd name="T80" fmla="*/ 350 w 456"/>
                <a:gd name="T81" fmla="*/ 174 h 218"/>
                <a:gd name="T82" fmla="*/ 378 w 456"/>
                <a:gd name="T83" fmla="*/ 182 h 218"/>
                <a:gd name="T84" fmla="*/ 398 w 456"/>
                <a:gd name="T85" fmla="*/ 202 h 218"/>
                <a:gd name="T86" fmla="*/ 406 w 456"/>
                <a:gd name="T87" fmla="*/ 218 h 218"/>
                <a:gd name="T88" fmla="*/ 446 w 456"/>
                <a:gd name="T89" fmla="*/ 184 h 218"/>
                <a:gd name="T90" fmla="*/ 456 w 456"/>
                <a:gd name="T91" fmla="*/ 144 h 218"/>
                <a:gd name="T92" fmla="*/ 352 w 456"/>
                <a:gd name="T93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6" h="218">
                  <a:moveTo>
                    <a:pt x="352" y="0"/>
                  </a:moveTo>
                  <a:lnTo>
                    <a:pt x="0" y="66"/>
                  </a:lnTo>
                  <a:lnTo>
                    <a:pt x="2" y="66"/>
                  </a:lnTo>
                  <a:lnTo>
                    <a:pt x="10" y="132"/>
                  </a:lnTo>
                  <a:lnTo>
                    <a:pt x="28" y="116"/>
                  </a:lnTo>
                  <a:lnTo>
                    <a:pt x="42" y="92"/>
                  </a:lnTo>
                  <a:lnTo>
                    <a:pt x="48" y="88"/>
                  </a:lnTo>
                  <a:lnTo>
                    <a:pt x="56" y="92"/>
                  </a:lnTo>
                  <a:lnTo>
                    <a:pt x="68" y="74"/>
                  </a:lnTo>
                  <a:lnTo>
                    <a:pt x="70" y="64"/>
                  </a:lnTo>
                  <a:lnTo>
                    <a:pt x="74" y="68"/>
                  </a:lnTo>
                  <a:lnTo>
                    <a:pt x="74" y="72"/>
                  </a:lnTo>
                  <a:lnTo>
                    <a:pt x="92" y="76"/>
                  </a:lnTo>
                  <a:lnTo>
                    <a:pt x="102" y="74"/>
                  </a:lnTo>
                  <a:lnTo>
                    <a:pt x="106" y="70"/>
                  </a:lnTo>
                  <a:lnTo>
                    <a:pt x="102" y="66"/>
                  </a:lnTo>
                  <a:lnTo>
                    <a:pt x="106" y="64"/>
                  </a:lnTo>
                  <a:lnTo>
                    <a:pt x="104" y="62"/>
                  </a:lnTo>
                  <a:lnTo>
                    <a:pt x="118" y="58"/>
                  </a:lnTo>
                  <a:lnTo>
                    <a:pt x="126" y="48"/>
                  </a:lnTo>
                  <a:lnTo>
                    <a:pt x="146" y="56"/>
                  </a:lnTo>
                  <a:lnTo>
                    <a:pt x="160" y="52"/>
                  </a:lnTo>
                  <a:lnTo>
                    <a:pt x="162" y="56"/>
                  </a:lnTo>
                  <a:lnTo>
                    <a:pt x="158" y="60"/>
                  </a:lnTo>
                  <a:lnTo>
                    <a:pt x="160" y="64"/>
                  </a:lnTo>
                  <a:lnTo>
                    <a:pt x="164" y="62"/>
                  </a:lnTo>
                  <a:lnTo>
                    <a:pt x="164" y="66"/>
                  </a:lnTo>
                  <a:lnTo>
                    <a:pt x="170" y="66"/>
                  </a:lnTo>
                  <a:lnTo>
                    <a:pt x="166" y="72"/>
                  </a:lnTo>
                  <a:lnTo>
                    <a:pt x="174" y="76"/>
                  </a:lnTo>
                  <a:lnTo>
                    <a:pt x="176" y="86"/>
                  </a:lnTo>
                  <a:lnTo>
                    <a:pt x="194" y="86"/>
                  </a:lnTo>
                  <a:lnTo>
                    <a:pt x="206" y="94"/>
                  </a:lnTo>
                  <a:lnTo>
                    <a:pt x="202" y="106"/>
                  </a:lnTo>
                  <a:lnTo>
                    <a:pt x="210" y="112"/>
                  </a:lnTo>
                  <a:lnTo>
                    <a:pt x="228" y="114"/>
                  </a:lnTo>
                  <a:lnTo>
                    <a:pt x="234" y="120"/>
                  </a:lnTo>
                  <a:lnTo>
                    <a:pt x="244" y="124"/>
                  </a:lnTo>
                  <a:lnTo>
                    <a:pt x="250" y="126"/>
                  </a:lnTo>
                  <a:lnTo>
                    <a:pt x="254" y="132"/>
                  </a:lnTo>
                  <a:lnTo>
                    <a:pt x="256" y="140"/>
                  </a:lnTo>
                  <a:lnTo>
                    <a:pt x="258" y="148"/>
                  </a:lnTo>
                  <a:lnTo>
                    <a:pt x="250" y="152"/>
                  </a:lnTo>
                  <a:lnTo>
                    <a:pt x="250" y="166"/>
                  </a:lnTo>
                  <a:lnTo>
                    <a:pt x="250" y="172"/>
                  </a:lnTo>
                  <a:lnTo>
                    <a:pt x="248" y="184"/>
                  </a:lnTo>
                  <a:lnTo>
                    <a:pt x="252" y="188"/>
                  </a:lnTo>
                  <a:lnTo>
                    <a:pt x="266" y="188"/>
                  </a:lnTo>
                  <a:lnTo>
                    <a:pt x="288" y="196"/>
                  </a:lnTo>
                  <a:lnTo>
                    <a:pt x="298" y="192"/>
                  </a:lnTo>
                  <a:lnTo>
                    <a:pt x="306" y="198"/>
                  </a:lnTo>
                  <a:lnTo>
                    <a:pt x="320" y="200"/>
                  </a:lnTo>
                  <a:lnTo>
                    <a:pt x="330" y="208"/>
                  </a:lnTo>
                  <a:lnTo>
                    <a:pt x="344" y="212"/>
                  </a:lnTo>
                  <a:lnTo>
                    <a:pt x="332" y="184"/>
                  </a:lnTo>
                  <a:lnTo>
                    <a:pt x="316" y="174"/>
                  </a:lnTo>
                  <a:lnTo>
                    <a:pt x="324" y="172"/>
                  </a:lnTo>
                  <a:lnTo>
                    <a:pt x="324" y="170"/>
                  </a:lnTo>
                  <a:lnTo>
                    <a:pt x="312" y="140"/>
                  </a:lnTo>
                  <a:lnTo>
                    <a:pt x="308" y="92"/>
                  </a:lnTo>
                  <a:lnTo>
                    <a:pt x="300" y="78"/>
                  </a:lnTo>
                  <a:lnTo>
                    <a:pt x="332" y="46"/>
                  </a:lnTo>
                  <a:lnTo>
                    <a:pt x="340" y="24"/>
                  </a:lnTo>
                  <a:lnTo>
                    <a:pt x="344" y="22"/>
                  </a:lnTo>
                  <a:lnTo>
                    <a:pt x="348" y="26"/>
                  </a:lnTo>
                  <a:lnTo>
                    <a:pt x="350" y="30"/>
                  </a:lnTo>
                  <a:lnTo>
                    <a:pt x="350" y="40"/>
                  </a:lnTo>
                  <a:lnTo>
                    <a:pt x="346" y="48"/>
                  </a:lnTo>
                  <a:lnTo>
                    <a:pt x="338" y="54"/>
                  </a:lnTo>
                  <a:lnTo>
                    <a:pt x="334" y="66"/>
                  </a:lnTo>
                  <a:lnTo>
                    <a:pt x="334" y="74"/>
                  </a:lnTo>
                  <a:lnTo>
                    <a:pt x="340" y="84"/>
                  </a:lnTo>
                  <a:lnTo>
                    <a:pt x="340" y="90"/>
                  </a:lnTo>
                  <a:lnTo>
                    <a:pt x="330" y="108"/>
                  </a:lnTo>
                  <a:lnTo>
                    <a:pt x="334" y="112"/>
                  </a:lnTo>
                  <a:lnTo>
                    <a:pt x="344" y="110"/>
                  </a:lnTo>
                  <a:lnTo>
                    <a:pt x="348" y="114"/>
                  </a:lnTo>
                  <a:lnTo>
                    <a:pt x="354" y="140"/>
                  </a:lnTo>
                  <a:lnTo>
                    <a:pt x="348" y="148"/>
                  </a:lnTo>
                  <a:lnTo>
                    <a:pt x="344" y="154"/>
                  </a:lnTo>
                  <a:lnTo>
                    <a:pt x="344" y="164"/>
                  </a:lnTo>
                  <a:lnTo>
                    <a:pt x="350" y="174"/>
                  </a:lnTo>
                  <a:lnTo>
                    <a:pt x="364" y="186"/>
                  </a:lnTo>
                  <a:lnTo>
                    <a:pt x="378" y="182"/>
                  </a:lnTo>
                  <a:lnTo>
                    <a:pt x="386" y="184"/>
                  </a:lnTo>
                  <a:lnTo>
                    <a:pt x="398" y="202"/>
                  </a:lnTo>
                  <a:lnTo>
                    <a:pt x="402" y="214"/>
                  </a:lnTo>
                  <a:lnTo>
                    <a:pt x="406" y="218"/>
                  </a:lnTo>
                  <a:lnTo>
                    <a:pt x="450" y="200"/>
                  </a:lnTo>
                  <a:lnTo>
                    <a:pt x="446" y="184"/>
                  </a:lnTo>
                  <a:lnTo>
                    <a:pt x="456" y="160"/>
                  </a:lnTo>
                  <a:lnTo>
                    <a:pt x="456" y="144"/>
                  </a:lnTo>
                  <a:lnTo>
                    <a:pt x="392" y="158"/>
                  </a:lnTo>
                  <a:lnTo>
                    <a:pt x="352" y="0"/>
                  </a:lnTo>
                  <a:lnTo>
                    <a:pt x="352" y="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0" name="Freeform 247"/>
            <p:cNvSpPr>
              <a:spLocks/>
            </p:cNvSpPr>
            <p:nvPr/>
          </p:nvSpPr>
          <p:spPr bwMode="auto">
            <a:xfrm>
              <a:off x="5863828" y="3228400"/>
              <a:ext cx="642938" cy="681038"/>
            </a:xfrm>
            <a:custGeom>
              <a:avLst/>
              <a:gdLst>
                <a:gd name="T0" fmla="*/ 498 w 540"/>
                <a:gd name="T1" fmla="*/ 518 h 572"/>
                <a:gd name="T2" fmla="*/ 494 w 540"/>
                <a:gd name="T3" fmla="*/ 488 h 572"/>
                <a:gd name="T4" fmla="*/ 534 w 540"/>
                <a:gd name="T5" fmla="*/ 346 h 572"/>
                <a:gd name="T6" fmla="*/ 540 w 540"/>
                <a:gd name="T7" fmla="*/ 344 h 572"/>
                <a:gd name="T8" fmla="*/ 512 w 540"/>
                <a:gd name="T9" fmla="*/ 336 h 572"/>
                <a:gd name="T10" fmla="*/ 510 w 540"/>
                <a:gd name="T11" fmla="*/ 312 h 572"/>
                <a:gd name="T12" fmla="*/ 494 w 540"/>
                <a:gd name="T13" fmla="*/ 288 h 572"/>
                <a:gd name="T14" fmla="*/ 476 w 540"/>
                <a:gd name="T15" fmla="*/ 280 h 572"/>
                <a:gd name="T16" fmla="*/ 474 w 540"/>
                <a:gd name="T17" fmla="*/ 262 h 572"/>
                <a:gd name="T18" fmla="*/ 460 w 540"/>
                <a:gd name="T19" fmla="*/ 238 h 572"/>
                <a:gd name="T20" fmla="*/ 460 w 540"/>
                <a:gd name="T21" fmla="*/ 232 h 572"/>
                <a:gd name="T22" fmla="*/ 428 w 540"/>
                <a:gd name="T23" fmla="*/ 216 h 572"/>
                <a:gd name="T24" fmla="*/ 428 w 540"/>
                <a:gd name="T25" fmla="*/ 210 h 572"/>
                <a:gd name="T26" fmla="*/ 418 w 540"/>
                <a:gd name="T27" fmla="*/ 206 h 572"/>
                <a:gd name="T28" fmla="*/ 418 w 540"/>
                <a:gd name="T29" fmla="*/ 198 h 572"/>
                <a:gd name="T30" fmla="*/ 406 w 540"/>
                <a:gd name="T31" fmla="*/ 194 h 572"/>
                <a:gd name="T32" fmla="*/ 406 w 540"/>
                <a:gd name="T33" fmla="*/ 180 h 572"/>
                <a:gd name="T34" fmla="*/ 374 w 540"/>
                <a:gd name="T35" fmla="*/ 160 h 572"/>
                <a:gd name="T36" fmla="*/ 374 w 540"/>
                <a:gd name="T37" fmla="*/ 160 h 572"/>
                <a:gd name="T38" fmla="*/ 362 w 540"/>
                <a:gd name="T39" fmla="*/ 142 h 572"/>
                <a:gd name="T40" fmla="*/ 332 w 540"/>
                <a:gd name="T41" fmla="*/ 128 h 572"/>
                <a:gd name="T42" fmla="*/ 328 w 540"/>
                <a:gd name="T43" fmla="*/ 120 h 572"/>
                <a:gd name="T44" fmla="*/ 328 w 540"/>
                <a:gd name="T45" fmla="*/ 120 h 572"/>
                <a:gd name="T46" fmla="*/ 310 w 540"/>
                <a:gd name="T47" fmla="*/ 102 h 572"/>
                <a:gd name="T48" fmla="*/ 298 w 540"/>
                <a:gd name="T49" fmla="*/ 80 h 572"/>
                <a:gd name="T50" fmla="*/ 298 w 540"/>
                <a:gd name="T51" fmla="*/ 80 h 572"/>
                <a:gd name="T52" fmla="*/ 290 w 540"/>
                <a:gd name="T53" fmla="*/ 66 h 572"/>
                <a:gd name="T54" fmla="*/ 276 w 540"/>
                <a:gd name="T55" fmla="*/ 68 h 572"/>
                <a:gd name="T56" fmla="*/ 238 w 540"/>
                <a:gd name="T57" fmla="*/ 42 h 572"/>
                <a:gd name="T58" fmla="*/ 248 w 540"/>
                <a:gd name="T59" fmla="*/ 20 h 572"/>
                <a:gd name="T60" fmla="*/ 258 w 540"/>
                <a:gd name="T61" fmla="*/ 12 h 572"/>
                <a:gd name="T62" fmla="*/ 260 w 540"/>
                <a:gd name="T63" fmla="*/ 0 h 572"/>
                <a:gd name="T64" fmla="*/ 0 w 540"/>
                <a:gd name="T65" fmla="*/ 30 h 572"/>
                <a:gd name="T66" fmla="*/ 84 w 540"/>
                <a:gd name="T67" fmla="*/ 324 h 572"/>
                <a:gd name="T68" fmla="*/ 102 w 540"/>
                <a:gd name="T69" fmla="*/ 350 h 572"/>
                <a:gd name="T70" fmla="*/ 100 w 540"/>
                <a:gd name="T71" fmla="*/ 362 h 572"/>
                <a:gd name="T72" fmla="*/ 112 w 540"/>
                <a:gd name="T73" fmla="*/ 368 h 572"/>
                <a:gd name="T74" fmla="*/ 96 w 540"/>
                <a:gd name="T75" fmla="*/ 388 h 572"/>
                <a:gd name="T76" fmla="*/ 96 w 540"/>
                <a:gd name="T77" fmla="*/ 418 h 572"/>
                <a:gd name="T78" fmla="*/ 104 w 540"/>
                <a:gd name="T79" fmla="*/ 440 h 572"/>
                <a:gd name="T80" fmla="*/ 104 w 540"/>
                <a:gd name="T81" fmla="*/ 510 h 572"/>
                <a:gd name="T82" fmla="*/ 124 w 540"/>
                <a:gd name="T83" fmla="*/ 552 h 572"/>
                <a:gd name="T84" fmla="*/ 136 w 540"/>
                <a:gd name="T85" fmla="*/ 564 h 572"/>
                <a:gd name="T86" fmla="*/ 424 w 540"/>
                <a:gd name="T87" fmla="*/ 548 h 572"/>
                <a:gd name="T88" fmla="*/ 428 w 540"/>
                <a:gd name="T89" fmla="*/ 566 h 572"/>
                <a:gd name="T90" fmla="*/ 434 w 540"/>
                <a:gd name="T91" fmla="*/ 572 h 572"/>
                <a:gd name="T92" fmla="*/ 446 w 540"/>
                <a:gd name="T93" fmla="*/ 570 h 572"/>
                <a:gd name="T94" fmla="*/ 448 w 540"/>
                <a:gd name="T95" fmla="*/ 546 h 572"/>
                <a:gd name="T96" fmla="*/ 440 w 540"/>
                <a:gd name="T97" fmla="*/ 524 h 572"/>
                <a:gd name="T98" fmla="*/ 448 w 540"/>
                <a:gd name="T99" fmla="*/ 514 h 572"/>
                <a:gd name="T100" fmla="*/ 498 w 540"/>
                <a:gd name="T101" fmla="*/ 518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0" h="572">
                  <a:moveTo>
                    <a:pt x="498" y="518"/>
                  </a:moveTo>
                  <a:lnTo>
                    <a:pt x="494" y="488"/>
                  </a:lnTo>
                  <a:lnTo>
                    <a:pt x="534" y="346"/>
                  </a:lnTo>
                  <a:lnTo>
                    <a:pt x="540" y="344"/>
                  </a:lnTo>
                  <a:lnTo>
                    <a:pt x="512" y="336"/>
                  </a:lnTo>
                  <a:lnTo>
                    <a:pt x="510" y="312"/>
                  </a:lnTo>
                  <a:lnTo>
                    <a:pt x="494" y="288"/>
                  </a:lnTo>
                  <a:lnTo>
                    <a:pt x="476" y="280"/>
                  </a:lnTo>
                  <a:lnTo>
                    <a:pt x="474" y="262"/>
                  </a:lnTo>
                  <a:lnTo>
                    <a:pt x="460" y="238"/>
                  </a:lnTo>
                  <a:lnTo>
                    <a:pt x="460" y="232"/>
                  </a:lnTo>
                  <a:lnTo>
                    <a:pt x="428" y="216"/>
                  </a:lnTo>
                  <a:lnTo>
                    <a:pt x="428" y="210"/>
                  </a:lnTo>
                  <a:lnTo>
                    <a:pt x="418" y="206"/>
                  </a:lnTo>
                  <a:lnTo>
                    <a:pt x="418" y="198"/>
                  </a:lnTo>
                  <a:lnTo>
                    <a:pt x="406" y="194"/>
                  </a:lnTo>
                  <a:lnTo>
                    <a:pt x="406" y="180"/>
                  </a:lnTo>
                  <a:lnTo>
                    <a:pt x="374" y="160"/>
                  </a:lnTo>
                  <a:lnTo>
                    <a:pt x="374" y="160"/>
                  </a:lnTo>
                  <a:lnTo>
                    <a:pt x="362" y="142"/>
                  </a:lnTo>
                  <a:lnTo>
                    <a:pt x="332" y="128"/>
                  </a:lnTo>
                  <a:lnTo>
                    <a:pt x="328" y="120"/>
                  </a:lnTo>
                  <a:lnTo>
                    <a:pt x="328" y="120"/>
                  </a:lnTo>
                  <a:lnTo>
                    <a:pt x="310" y="102"/>
                  </a:lnTo>
                  <a:lnTo>
                    <a:pt x="298" y="80"/>
                  </a:lnTo>
                  <a:lnTo>
                    <a:pt x="298" y="80"/>
                  </a:lnTo>
                  <a:lnTo>
                    <a:pt x="290" y="66"/>
                  </a:lnTo>
                  <a:lnTo>
                    <a:pt x="276" y="68"/>
                  </a:lnTo>
                  <a:lnTo>
                    <a:pt x="238" y="42"/>
                  </a:lnTo>
                  <a:lnTo>
                    <a:pt x="248" y="20"/>
                  </a:lnTo>
                  <a:lnTo>
                    <a:pt x="258" y="12"/>
                  </a:lnTo>
                  <a:lnTo>
                    <a:pt x="260" y="0"/>
                  </a:lnTo>
                  <a:lnTo>
                    <a:pt x="0" y="30"/>
                  </a:lnTo>
                  <a:lnTo>
                    <a:pt x="84" y="324"/>
                  </a:lnTo>
                  <a:lnTo>
                    <a:pt x="102" y="350"/>
                  </a:lnTo>
                  <a:lnTo>
                    <a:pt x="100" y="362"/>
                  </a:lnTo>
                  <a:lnTo>
                    <a:pt x="112" y="368"/>
                  </a:lnTo>
                  <a:lnTo>
                    <a:pt x="96" y="388"/>
                  </a:lnTo>
                  <a:lnTo>
                    <a:pt x="96" y="418"/>
                  </a:lnTo>
                  <a:lnTo>
                    <a:pt x="104" y="440"/>
                  </a:lnTo>
                  <a:lnTo>
                    <a:pt x="104" y="510"/>
                  </a:lnTo>
                  <a:lnTo>
                    <a:pt x="124" y="552"/>
                  </a:lnTo>
                  <a:lnTo>
                    <a:pt x="136" y="564"/>
                  </a:lnTo>
                  <a:lnTo>
                    <a:pt x="424" y="548"/>
                  </a:lnTo>
                  <a:lnTo>
                    <a:pt x="428" y="566"/>
                  </a:lnTo>
                  <a:lnTo>
                    <a:pt x="434" y="572"/>
                  </a:lnTo>
                  <a:lnTo>
                    <a:pt x="446" y="570"/>
                  </a:lnTo>
                  <a:lnTo>
                    <a:pt x="448" y="546"/>
                  </a:lnTo>
                  <a:lnTo>
                    <a:pt x="440" y="524"/>
                  </a:lnTo>
                  <a:lnTo>
                    <a:pt x="448" y="514"/>
                  </a:lnTo>
                  <a:lnTo>
                    <a:pt x="498" y="518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2">
                  <a:lumMod val="2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1" name="Freeform 248"/>
            <p:cNvSpPr>
              <a:spLocks/>
            </p:cNvSpPr>
            <p:nvPr/>
          </p:nvSpPr>
          <p:spPr bwMode="auto">
            <a:xfrm>
              <a:off x="2231231" y="2790250"/>
              <a:ext cx="809625" cy="952500"/>
            </a:xfrm>
            <a:custGeom>
              <a:avLst/>
              <a:gdLst>
                <a:gd name="T0" fmla="*/ 260 w 680"/>
                <a:gd name="T1" fmla="*/ 16 h 800"/>
                <a:gd name="T2" fmla="*/ 680 w 680"/>
                <a:gd name="T3" fmla="*/ 88 h 800"/>
                <a:gd name="T4" fmla="*/ 574 w 680"/>
                <a:gd name="T5" fmla="*/ 800 h 800"/>
                <a:gd name="T6" fmla="*/ 372 w 680"/>
                <a:gd name="T7" fmla="*/ 766 h 800"/>
                <a:gd name="T8" fmla="*/ 0 w 680"/>
                <a:gd name="T9" fmla="*/ 540 h 800"/>
                <a:gd name="T10" fmla="*/ 0 w 680"/>
                <a:gd name="T11" fmla="*/ 528 h 800"/>
                <a:gd name="T12" fmla="*/ 12 w 680"/>
                <a:gd name="T13" fmla="*/ 518 h 800"/>
                <a:gd name="T14" fmla="*/ 26 w 680"/>
                <a:gd name="T15" fmla="*/ 524 h 800"/>
                <a:gd name="T16" fmla="*/ 38 w 680"/>
                <a:gd name="T17" fmla="*/ 508 h 800"/>
                <a:gd name="T18" fmla="*/ 40 w 680"/>
                <a:gd name="T19" fmla="*/ 494 h 800"/>
                <a:gd name="T20" fmla="*/ 20 w 680"/>
                <a:gd name="T21" fmla="*/ 476 h 800"/>
                <a:gd name="T22" fmla="*/ 26 w 680"/>
                <a:gd name="T23" fmla="*/ 460 h 800"/>
                <a:gd name="T24" fmla="*/ 22 w 680"/>
                <a:gd name="T25" fmla="*/ 448 h 800"/>
                <a:gd name="T26" fmla="*/ 24 w 680"/>
                <a:gd name="T27" fmla="*/ 436 h 800"/>
                <a:gd name="T28" fmla="*/ 34 w 680"/>
                <a:gd name="T29" fmla="*/ 436 h 800"/>
                <a:gd name="T30" fmla="*/ 50 w 680"/>
                <a:gd name="T31" fmla="*/ 420 h 800"/>
                <a:gd name="T32" fmla="*/ 52 w 680"/>
                <a:gd name="T33" fmla="*/ 404 h 800"/>
                <a:gd name="T34" fmla="*/ 58 w 680"/>
                <a:gd name="T35" fmla="*/ 400 h 800"/>
                <a:gd name="T36" fmla="*/ 60 w 680"/>
                <a:gd name="T37" fmla="*/ 370 h 800"/>
                <a:gd name="T38" fmla="*/ 72 w 680"/>
                <a:gd name="T39" fmla="*/ 364 h 800"/>
                <a:gd name="T40" fmla="*/ 78 w 680"/>
                <a:gd name="T41" fmla="*/ 354 h 800"/>
                <a:gd name="T42" fmla="*/ 110 w 680"/>
                <a:gd name="T43" fmla="*/ 340 h 800"/>
                <a:gd name="T44" fmla="*/ 102 w 680"/>
                <a:gd name="T45" fmla="*/ 314 h 800"/>
                <a:gd name="T46" fmla="*/ 90 w 680"/>
                <a:gd name="T47" fmla="*/ 302 h 800"/>
                <a:gd name="T48" fmla="*/ 74 w 680"/>
                <a:gd name="T49" fmla="*/ 254 h 800"/>
                <a:gd name="T50" fmla="*/ 80 w 680"/>
                <a:gd name="T51" fmla="*/ 222 h 800"/>
                <a:gd name="T52" fmla="*/ 86 w 680"/>
                <a:gd name="T53" fmla="*/ 220 h 800"/>
                <a:gd name="T54" fmla="*/ 88 w 680"/>
                <a:gd name="T55" fmla="*/ 146 h 800"/>
                <a:gd name="T56" fmla="*/ 96 w 680"/>
                <a:gd name="T57" fmla="*/ 128 h 800"/>
                <a:gd name="T58" fmla="*/ 92 w 680"/>
                <a:gd name="T59" fmla="*/ 118 h 800"/>
                <a:gd name="T60" fmla="*/ 98 w 680"/>
                <a:gd name="T61" fmla="*/ 108 h 800"/>
                <a:gd name="T62" fmla="*/ 114 w 680"/>
                <a:gd name="T63" fmla="*/ 96 h 800"/>
                <a:gd name="T64" fmla="*/ 124 w 680"/>
                <a:gd name="T65" fmla="*/ 102 h 800"/>
                <a:gd name="T66" fmla="*/ 132 w 680"/>
                <a:gd name="T67" fmla="*/ 102 h 800"/>
                <a:gd name="T68" fmla="*/ 140 w 680"/>
                <a:gd name="T69" fmla="*/ 118 h 800"/>
                <a:gd name="T70" fmla="*/ 148 w 680"/>
                <a:gd name="T71" fmla="*/ 120 h 800"/>
                <a:gd name="T72" fmla="*/ 154 w 680"/>
                <a:gd name="T73" fmla="*/ 118 h 800"/>
                <a:gd name="T74" fmla="*/ 166 w 680"/>
                <a:gd name="T75" fmla="*/ 102 h 800"/>
                <a:gd name="T76" fmla="*/ 186 w 680"/>
                <a:gd name="T77" fmla="*/ 0 h 800"/>
                <a:gd name="T78" fmla="*/ 260 w 680"/>
                <a:gd name="T79" fmla="*/ 16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80" h="800">
                  <a:moveTo>
                    <a:pt x="260" y="16"/>
                  </a:moveTo>
                  <a:lnTo>
                    <a:pt x="680" y="88"/>
                  </a:lnTo>
                  <a:lnTo>
                    <a:pt x="574" y="800"/>
                  </a:lnTo>
                  <a:lnTo>
                    <a:pt x="372" y="766"/>
                  </a:lnTo>
                  <a:lnTo>
                    <a:pt x="0" y="540"/>
                  </a:lnTo>
                  <a:lnTo>
                    <a:pt x="0" y="528"/>
                  </a:lnTo>
                  <a:lnTo>
                    <a:pt x="12" y="518"/>
                  </a:lnTo>
                  <a:lnTo>
                    <a:pt x="26" y="524"/>
                  </a:lnTo>
                  <a:lnTo>
                    <a:pt x="38" y="508"/>
                  </a:lnTo>
                  <a:lnTo>
                    <a:pt x="40" y="494"/>
                  </a:lnTo>
                  <a:lnTo>
                    <a:pt x="20" y="476"/>
                  </a:lnTo>
                  <a:lnTo>
                    <a:pt x="26" y="460"/>
                  </a:lnTo>
                  <a:lnTo>
                    <a:pt x="22" y="448"/>
                  </a:lnTo>
                  <a:lnTo>
                    <a:pt x="24" y="436"/>
                  </a:lnTo>
                  <a:lnTo>
                    <a:pt x="34" y="436"/>
                  </a:lnTo>
                  <a:lnTo>
                    <a:pt x="50" y="420"/>
                  </a:lnTo>
                  <a:lnTo>
                    <a:pt x="52" y="404"/>
                  </a:lnTo>
                  <a:lnTo>
                    <a:pt x="58" y="400"/>
                  </a:lnTo>
                  <a:lnTo>
                    <a:pt x="60" y="370"/>
                  </a:lnTo>
                  <a:lnTo>
                    <a:pt x="72" y="364"/>
                  </a:lnTo>
                  <a:lnTo>
                    <a:pt x="78" y="354"/>
                  </a:lnTo>
                  <a:lnTo>
                    <a:pt x="110" y="340"/>
                  </a:lnTo>
                  <a:lnTo>
                    <a:pt x="102" y="314"/>
                  </a:lnTo>
                  <a:lnTo>
                    <a:pt x="90" y="302"/>
                  </a:lnTo>
                  <a:lnTo>
                    <a:pt x="74" y="254"/>
                  </a:lnTo>
                  <a:lnTo>
                    <a:pt x="80" y="222"/>
                  </a:lnTo>
                  <a:lnTo>
                    <a:pt x="86" y="220"/>
                  </a:lnTo>
                  <a:lnTo>
                    <a:pt x="88" y="146"/>
                  </a:lnTo>
                  <a:lnTo>
                    <a:pt x="96" y="128"/>
                  </a:lnTo>
                  <a:lnTo>
                    <a:pt x="92" y="118"/>
                  </a:lnTo>
                  <a:lnTo>
                    <a:pt x="98" y="108"/>
                  </a:lnTo>
                  <a:lnTo>
                    <a:pt x="114" y="96"/>
                  </a:lnTo>
                  <a:lnTo>
                    <a:pt x="124" y="102"/>
                  </a:lnTo>
                  <a:lnTo>
                    <a:pt x="132" y="102"/>
                  </a:lnTo>
                  <a:lnTo>
                    <a:pt x="140" y="118"/>
                  </a:lnTo>
                  <a:lnTo>
                    <a:pt x="148" y="120"/>
                  </a:lnTo>
                  <a:lnTo>
                    <a:pt x="154" y="118"/>
                  </a:lnTo>
                  <a:lnTo>
                    <a:pt x="166" y="102"/>
                  </a:lnTo>
                  <a:lnTo>
                    <a:pt x="186" y="0"/>
                  </a:lnTo>
                  <a:lnTo>
                    <a:pt x="260" y="1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2" name="Freeform 249"/>
            <p:cNvSpPr>
              <a:spLocks/>
            </p:cNvSpPr>
            <p:nvPr/>
          </p:nvSpPr>
          <p:spPr bwMode="auto">
            <a:xfrm>
              <a:off x="5144692" y="3290313"/>
              <a:ext cx="428625" cy="728663"/>
            </a:xfrm>
            <a:custGeom>
              <a:avLst/>
              <a:gdLst>
                <a:gd name="T0" fmla="*/ 360 w 360"/>
                <a:gd name="T1" fmla="*/ 588 h 612"/>
                <a:gd name="T2" fmla="*/ 294 w 360"/>
                <a:gd name="T3" fmla="*/ 588 h 612"/>
                <a:gd name="T4" fmla="*/ 270 w 360"/>
                <a:gd name="T5" fmla="*/ 602 h 612"/>
                <a:gd name="T6" fmla="*/ 254 w 360"/>
                <a:gd name="T7" fmla="*/ 598 h 612"/>
                <a:gd name="T8" fmla="*/ 230 w 360"/>
                <a:gd name="T9" fmla="*/ 612 h 612"/>
                <a:gd name="T10" fmla="*/ 220 w 360"/>
                <a:gd name="T11" fmla="*/ 586 h 612"/>
                <a:gd name="T12" fmla="*/ 206 w 360"/>
                <a:gd name="T13" fmla="*/ 574 h 612"/>
                <a:gd name="T14" fmla="*/ 200 w 360"/>
                <a:gd name="T15" fmla="*/ 562 h 612"/>
                <a:gd name="T16" fmla="*/ 210 w 360"/>
                <a:gd name="T17" fmla="*/ 520 h 612"/>
                <a:gd name="T18" fmla="*/ 2 w 360"/>
                <a:gd name="T19" fmla="*/ 528 h 612"/>
                <a:gd name="T20" fmla="*/ 2 w 360"/>
                <a:gd name="T21" fmla="*/ 530 h 612"/>
                <a:gd name="T22" fmla="*/ 10 w 360"/>
                <a:gd name="T23" fmla="*/ 520 h 612"/>
                <a:gd name="T24" fmla="*/ 0 w 360"/>
                <a:gd name="T25" fmla="*/ 496 h 612"/>
                <a:gd name="T26" fmla="*/ 14 w 360"/>
                <a:gd name="T27" fmla="*/ 490 h 612"/>
                <a:gd name="T28" fmla="*/ 18 w 360"/>
                <a:gd name="T29" fmla="*/ 478 h 612"/>
                <a:gd name="T30" fmla="*/ 14 w 360"/>
                <a:gd name="T31" fmla="*/ 464 h 612"/>
                <a:gd name="T32" fmla="*/ 24 w 360"/>
                <a:gd name="T33" fmla="*/ 454 h 612"/>
                <a:gd name="T34" fmla="*/ 30 w 360"/>
                <a:gd name="T35" fmla="*/ 424 h 612"/>
                <a:gd name="T36" fmla="*/ 58 w 360"/>
                <a:gd name="T37" fmla="*/ 398 h 612"/>
                <a:gd name="T38" fmla="*/ 56 w 360"/>
                <a:gd name="T39" fmla="*/ 382 h 612"/>
                <a:gd name="T40" fmla="*/ 64 w 360"/>
                <a:gd name="T41" fmla="*/ 382 h 612"/>
                <a:gd name="T42" fmla="*/ 76 w 360"/>
                <a:gd name="T43" fmla="*/ 358 h 612"/>
                <a:gd name="T44" fmla="*/ 54 w 360"/>
                <a:gd name="T45" fmla="*/ 342 h 612"/>
                <a:gd name="T46" fmla="*/ 54 w 360"/>
                <a:gd name="T47" fmla="*/ 330 h 612"/>
                <a:gd name="T48" fmla="*/ 46 w 360"/>
                <a:gd name="T49" fmla="*/ 318 h 612"/>
                <a:gd name="T50" fmla="*/ 56 w 360"/>
                <a:gd name="T51" fmla="*/ 312 h 612"/>
                <a:gd name="T52" fmla="*/ 46 w 360"/>
                <a:gd name="T53" fmla="*/ 304 h 612"/>
                <a:gd name="T54" fmla="*/ 54 w 360"/>
                <a:gd name="T55" fmla="*/ 282 h 612"/>
                <a:gd name="T56" fmla="*/ 44 w 360"/>
                <a:gd name="T57" fmla="*/ 278 h 612"/>
                <a:gd name="T58" fmla="*/ 46 w 360"/>
                <a:gd name="T59" fmla="*/ 272 h 612"/>
                <a:gd name="T60" fmla="*/ 44 w 360"/>
                <a:gd name="T61" fmla="*/ 258 h 612"/>
                <a:gd name="T62" fmla="*/ 50 w 360"/>
                <a:gd name="T63" fmla="*/ 252 h 612"/>
                <a:gd name="T64" fmla="*/ 50 w 360"/>
                <a:gd name="T65" fmla="*/ 240 h 612"/>
                <a:gd name="T66" fmla="*/ 42 w 360"/>
                <a:gd name="T67" fmla="*/ 234 h 612"/>
                <a:gd name="T68" fmla="*/ 46 w 360"/>
                <a:gd name="T69" fmla="*/ 214 h 612"/>
                <a:gd name="T70" fmla="*/ 34 w 360"/>
                <a:gd name="T71" fmla="*/ 204 h 612"/>
                <a:gd name="T72" fmla="*/ 42 w 360"/>
                <a:gd name="T73" fmla="*/ 200 h 612"/>
                <a:gd name="T74" fmla="*/ 42 w 360"/>
                <a:gd name="T75" fmla="*/ 194 h 612"/>
                <a:gd name="T76" fmla="*/ 34 w 360"/>
                <a:gd name="T77" fmla="*/ 188 h 612"/>
                <a:gd name="T78" fmla="*/ 50 w 360"/>
                <a:gd name="T79" fmla="*/ 172 h 612"/>
                <a:gd name="T80" fmla="*/ 54 w 360"/>
                <a:gd name="T81" fmla="*/ 154 h 612"/>
                <a:gd name="T82" fmla="*/ 48 w 360"/>
                <a:gd name="T83" fmla="*/ 148 h 612"/>
                <a:gd name="T84" fmla="*/ 68 w 360"/>
                <a:gd name="T85" fmla="*/ 140 h 612"/>
                <a:gd name="T86" fmla="*/ 68 w 360"/>
                <a:gd name="T87" fmla="*/ 132 h 612"/>
                <a:gd name="T88" fmla="*/ 60 w 360"/>
                <a:gd name="T89" fmla="*/ 126 h 612"/>
                <a:gd name="T90" fmla="*/ 70 w 360"/>
                <a:gd name="T91" fmla="*/ 120 h 612"/>
                <a:gd name="T92" fmla="*/ 72 w 360"/>
                <a:gd name="T93" fmla="*/ 110 h 612"/>
                <a:gd name="T94" fmla="*/ 78 w 360"/>
                <a:gd name="T95" fmla="*/ 110 h 612"/>
                <a:gd name="T96" fmla="*/ 78 w 360"/>
                <a:gd name="T97" fmla="*/ 98 h 612"/>
                <a:gd name="T98" fmla="*/ 98 w 360"/>
                <a:gd name="T99" fmla="*/ 90 h 612"/>
                <a:gd name="T100" fmla="*/ 94 w 360"/>
                <a:gd name="T101" fmla="*/ 64 h 612"/>
                <a:gd name="T102" fmla="*/ 98 w 360"/>
                <a:gd name="T103" fmla="*/ 50 h 612"/>
                <a:gd name="T104" fmla="*/ 108 w 360"/>
                <a:gd name="T105" fmla="*/ 50 h 612"/>
                <a:gd name="T106" fmla="*/ 108 w 360"/>
                <a:gd name="T107" fmla="*/ 40 h 612"/>
                <a:gd name="T108" fmla="*/ 126 w 360"/>
                <a:gd name="T109" fmla="*/ 26 h 612"/>
                <a:gd name="T110" fmla="*/ 122 w 360"/>
                <a:gd name="T111" fmla="*/ 14 h 612"/>
                <a:gd name="T112" fmla="*/ 340 w 360"/>
                <a:gd name="T113" fmla="*/ 0 h 612"/>
                <a:gd name="T114" fmla="*/ 352 w 360"/>
                <a:gd name="T115" fmla="*/ 14 h 612"/>
                <a:gd name="T116" fmla="*/ 360 w 360"/>
                <a:gd name="T117" fmla="*/ 588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0" h="612">
                  <a:moveTo>
                    <a:pt x="360" y="588"/>
                  </a:moveTo>
                  <a:lnTo>
                    <a:pt x="294" y="588"/>
                  </a:lnTo>
                  <a:lnTo>
                    <a:pt x="270" y="602"/>
                  </a:lnTo>
                  <a:lnTo>
                    <a:pt x="254" y="598"/>
                  </a:lnTo>
                  <a:lnTo>
                    <a:pt x="230" y="612"/>
                  </a:lnTo>
                  <a:lnTo>
                    <a:pt x="220" y="586"/>
                  </a:lnTo>
                  <a:lnTo>
                    <a:pt x="206" y="574"/>
                  </a:lnTo>
                  <a:lnTo>
                    <a:pt x="200" y="562"/>
                  </a:lnTo>
                  <a:lnTo>
                    <a:pt x="210" y="520"/>
                  </a:lnTo>
                  <a:lnTo>
                    <a:pt x="2" y="528"/>
                  </a:lnTo>
                  <a:lnTo>
                    <a:pt x="2" y="530"/>
                  </a:lnTo>
                  <a:lnTo>
                    <a:pt x="10" y="520"/>
                  </a:lnTo>
                  <a:lnTo>
                    <a:pt x="0" y="496"/>
                  </a:lnTo>
                  <a:lnTo>
                    <a:pt x="14" y="490"/>
                  </a:lnTo>
                  <a:lnTo>
                    <a:pt x="18" y="478"/>
                  </a:lnTo>
                  <a:lnTo>
                    <a:pt x="14" y="464"/>
                  </a:lnTo>
                  <a:lnTo>
                    <a:pt x="24" y="454"/>
                  </a:lnTo>
                  <a:lnTo>
                    <a:pt x="30" y="424"/>
                  </a:lnTo>
                  <a:lnTo>
                    <a:pt x="58" y="398"/>
                  </a:lnTo>
                  <a:lnTo>
                    <a:pt x="56" y="382"/>
                  </a:lnTo>
                  <a:lnTo>
                    <a:pt x="64" y="382"/>
                  </a:lnTo>
                  <a:lnTo>
                    <a:pt x="76" y="358"/>
                  </a:lnTo>
                  <a:lnTo>
                    <a:pt x="54" y="342"/>
                  </a:lnTo>
                  <a:lnTo>
                    <a:pt x="54" y="330"/>
                  </a:lnTo>
                  <a:lnTo>
                    <a:pt x="46" y="318"/>
                  </a:lnTo>
                  <a:lnTo>
                    <a:pt x="56" y="312"/>
                  </a:lnTo>
                  <a:lnTo>
                    <a:pt x="46" y="304"/>
                  </a:lnTo>
                  <a:lnTo>
                    <a:pt x="54" y="282"/>
                  </a:lnTo>
                  <a:lnTo>
                    <a:pt x="44" y="278"/>
                  </a:lnTo>
                  <a:lnTo>
                    <a:pt x="46" y="272"/>
                  </a:lnTo>
                  <a:lnTo>
                    <a:pt x="44" y="258"/>
                  </a:lnTo>
                  <a:lnTo>
                    <a:pt x="50" y="252"/>
                  </a:lnTo>
                  <a:lnTo>
                    <a:pt x="50" y="240"/>
                  </a:lnTo>
                  <a:lnTo>
                    <a:pt x="42" y="234"/>
                  </a:lnTo>
                  <a:lnTo>
                    <a:pt x="46" y="214"/>
                  </a:lnTo>
                  <a:lnTo>
                    <a:pt x="34" y="204"/>
                  </a:lnTo>
                  <a:lnTo>
                    <a:pt x="42" y="200"/>
                  </a:lnTo>
                  <a:lnTo>
                    <a:pt x="42" y="194"/>
                  </a:lnTo>
                  <a:lnTo>
                    <a:pt x="34" y="188"/>
                  </a:lnTo>
                  <a:lnTo>
                    <a:pt x="50" y="172"/>
                  </a:lnTo>
                  <a:lnTo>
                    <a:pt x="54" y="154"/>
                  </a:lnTo>
                  <a:lnTo>
                    <a:pt x="48" y="148"/>
                  </a:lnTo>
                  <a:lnTo>
                    <a:pt x="68" y="140"/>
                  </a:lnTo>
                  <a:lnTo>
                    <a:pt x="68" y="132"/>
                  </a:lnTo>
                  <a:lnTo>
                    <a:pt x="60" y="126"/>
                  </a:lnTo>
                  <a:lnTo>
                    <a:pt x="70" y="120"/>
                  </a:lnTo>
                  <a:lnTo>
                    <a:pt x="72" y="110"/>
                  </a:lnTo>
                  <a:lnTo>
                    <a:pt x="78" y="110"/>
                  </a:lnTo>
                  <a:lnTo>
                    <a:pt x="78" y="98"/>
                  </a:lnTo>
                  <a:lnTo>
                    <a:pt x="98" y="90"/>
                  </a:lnTo>
                  <a:lnTo>
                    <a:pt x="94" y="64"/>
                  </a:lnTo>
                  <a:lnTo>
                    <a:pt x="98" y="50"/>
                  </a:lnTo>
                  <a:lnTo>
                    <a:pt x="108" y="50"/>
                  </a:lnTo>
                  <a:lnTo>
                    <a:pt x="108" y="40"/>
                  </a:lnTo>
                  <a:lnTo>
                    <a:pt x="126" y="26"/>
                  </a:lnTo>
                  <a:lnTo>
                    <a:pt x="122" y="14"/>
                  </a:lnTo>
                  <a:lnTo>
                    <a:pt x="340" y="0"/>
                  </a:lnTo>
                  <a:lnTo>
                    <a:pt x="352" y="14"/>
                  </a:lnTo>
                  <a:lnTo>
                    <a:pt x="360" y="588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3" name="Freeform 250"/>
            <p:cNvSpPr>
              <a:spLocks/>
            </p:cNvSpPr>
            <p:nvPr/>
          </p:nvSpPr>
          <p:spPr bwMode="auto">
            <a:xfrm>
              <a:off x="3724276" y="1622246"/>
              <a:ext cx="834629" cy="561975"/>
            </a:xfrm>
            <a:custGeom>
              <a:avLst/>
              <a:gdLst>
                <a:gd name="T0" fmla="*/ 658 w 701"/>
                <a:gd name="T1" fmla="*/ 36 h 472"/>
                <a:gd name="T2" fmla="*/ 36 w 701"/>
                <a:gd name="T3" fmla="*/ 0 h 472"/>
                <a:gd name="T4" fmla="*/ 0 w 701"/>
                <a:gd name="T5" fmla="*/ 370 h 472"/>
                <a:gd name="T6" fmla="*/ 510 w 701"/>
                <a:gd name="T7" fmla="*/ 404 h 472"/>
                <a:gd name="T8" fmla="*/ 510 w 701"/>
                <a:gd name="T9" fmla="*/ 404 h 472"/>
                <a:gd name="T10" fmla="*/ 520 w 701"/>
                <a:gd name="T11" fmla="*/ 416 h 472"/>
                <a:gd name="T12" fmla="*/ 554 w 701"/>
                <a:gd name="T13" fmla="*/ 434 h 472"/>
                <a:gd name="T14" fmla="*/ 562 w 701"/>
                <a:gd name="T15" fmla="*/ 434 h 472"/>
                <a:gd name="T16" fmla="*/ 568 w 701"/>
                <a:gd name="T17" fmla="*/ 424 h 472"/>
                <a:gd name="T18" fmla="*/ 624 w 701"/>
                <a:gd name="T19" fmla="*/ 424 h 472"/>
                <a:gd name="T20" fmla="*/ 636 w 701"/>
                <a:gd name="T21" fmla="*/ 436 h 472"/>
                <a:gd name="T22" fmla="*/ 674 w 701"/>
                <a:gd name="T23" fmla="*/ 450 h 472"/>
                <a:gd name="T24" fmla="*/ 682 w 701"/>
                <a:gd name="T25" fmla="*/ 470 h 472"/>
                <a:gd name="T26" fmla="*/ 694 w 701"/>
                <a:gd name="T27" fmla="*/ 472 h 472"/>
                <a:gd name="T28" fmla="*/ 694 w 701"/>
                <a:gd name="T29" fmla="*/ 466 h 472"/>
                <a:gd name="T30" fmla="*/ 690 w 701"/>
                <a:gd name="T31" fmla="*/ 458 h 472"/>
                <a:gd name="T32" fmla="*/ 692 w 701"/>
                <a:gd name="T33" fmla="*/ 454 h 472"/>
                <a:gd name="T34" fmla="*/ 680 w 701"/>
                <a:gd name="T35" fmla="*/ 442 h 472"/>
                <a:gd name="T36" fmla="*/ 694 w 701"/>
                <a:gd name="T37" fmla="*/ 410 h 472"/>
                <a:gd name="T38" fmla="*/ 694 w 701"/>
                <a:gd name="T39" fmla="*/ 410 h 472"/>
                <a:gd name="T40" fmla="*/ 698 w 701"/>
                <a:gd name="T41" fmla="*/ 394 h 472"/>
                <a:gd name="T42" fmla="*/ 696 w 701"/>
                <a:gd name="T43" fmla="*/ 382 h 472"/>
                <a:gd name="T44" fmla="*/ 688 w 701"/>
                <a:gd name="T45" fmla="*/ 380 h 472"/>
                <a:gd name="T46" fmla="*/ 690 w 701"/>
                <a:gd name="T47" fmla="*/ 378 h 472"/>
                <a:gd name="T48" fmla="*/ 686 w 701"/>
                <a:gd name="T49" fmla="*/ 374 h 472"/>
                <a:gd name="T50" fmla="*/ 692 w 701"/>
                <a:gd name="T51" fmla="*/ 372 h 472"/>
                <a:gd name="T52" fmla="*/ 692 w 701"/>
                <a:gd name="T53" fmla="*/ 362 h 472"/>
                <a:gd name="T54" fmla="*/ 686 w 701"/>
                <a:gd name="T55" fmla="*/ 354 h 472"/>
                <a:gd name="T56" fmla="*/ 686 w 701"/>
                <a:gd name="T57" fmla="*/ 346 h 472"/>
                <a:gd name="T58" fmla="*/ 700 w 701"/>
                <a:gd name="T59" fmla="*/ 346 h 472"/>
                <a:gd name="T60" fmla="*/ 701 w 701"/>
                <a:gd name="T61" fmla="*/ 118 h 472"/>
                <a:gd name="T62" fmla="*/ 696 w 701"/>
                <a:gd name="T63" fmla="*/ 108 h 472"/>
                <a:gd name="T64" fmla="*/ 682 w 701"/>
                <a:gd name="T65" fmla="*/ 104 h 472"/>
                <a:gd name="T66" fmla="*/ 668 w 701"/>
                <a:gd name="T67" fmla="*/ 80 h 472"/>
                <a:gd name="T68" fmla="*/ 670 w 701"/>
                <a:gd name="T69" fmla="*/ 74 h 472"/>
                <a:gd name="T70" fmla="*/ 686 w 701"/>
                <a:gd name="T71" fmla="*/ 62 h 472"/>
                <a:gd name="T72" fmla="*/ 692 w 701"/>
                <a:gd name="T73" fmla="*/ 50 h 472"/>
                <a:gd name="T74" fmla="*/ 694 w 701"/>
                <a:gd name="T75" fmla="*/ 38 h 472"/>
                <a:gd name="T76" fmla="*/ 658 w 701"/>
                <a:gd name="T77" fmla="*/ 3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01" h="472">
                  <a:moveTo>
                    <a:pt x="658" y="36"/>
                  </a:moveTo>
                  <a:lnTo>
                    <a:pt x="36" y="0"/>
                  </a:lnTo>
                  <a:lnTo>
                    <a:pt x="0" y="370"/>
                  </a:lnTo>
                  <a:lnTo>
                    <a:pt x="510" y="404"/>
                  </a:lnTo>
                  <a:lnTo>
                    <a:pt x="510" y="404"/>
                  </a:lnTo>
                  <a:lnTo>
                    <a:pt x="520" y="416"/>
                  </a:lnTo>
                  <a:lnTo>
                    <a:pt x="554" y="434"/>
                  </a:lnTo>
                  <a:lnTo>
                    <a:pt x="562" y="434"/>
                  </a:lnTo>
                  <a:lnTo>
                    <a:pt x="568" y="424"/>
                  </a:lnTo>
                  <a:lnTo>
                    <a:pt x="624" y="424"/>
                  </a:lnTo>
                  <a:lnTo>
                    <a:pt x="636" y="436"/>
                  </a:lnTo>
                  <a:lnTo>
                    <a:pt x="674" y="450"/>
                  </a:lnTo>
                  <a:lnTo>
                    <a:pt x="682" y="470"/>
                  </a:lnTo>
                  <a:lnTo>
                    <a:pt x="694" y="472"/>
                  </a:lnTo>
                  <a:lnTo>
                    <a:pt x="694" y="466"/>
                  </a:lnTo>
                  <a:lnTo>
                    <a:pt x="690" y="458"/>
                  </a:lnTo>
                  <a:lnTo>
                    <a:pt x="692" y="454"/>
                  </a:lnTo>
                  <a:lnTo>
                    <a:pt x="680" y="442"/>
                  </a:lnTo>
                  <a:lnTo>
                    <a:pt x="694" y="410"/>
                  </a:lnTo>
                  <a:lnTo>
                    <a:pt x="694" y="410"/>
                  </a:lnTo>
                  <a:lnTo>
                    <a:pt x="698" y="394"/>
                  </a:lnTo>
                  <a:lnTo>
                    <a:pt x="696" y="382"/>
                  </a:lnTo>
                  <a:lnTo>
                    <a:pt x="688" y="380"/>
                  </a:lnTo>
                  <a:lnTo>
                    <a:pt x="690" y="378"/>
                  </a:lnTo>
                  <a:lnTo>
                    <a:pt x="686" y="374"/>
                  </a:lnTo>
                  <a:lnTo>
                    <a:pt x="692" y="372"/>
                  </a:lnTo>
                  <a:lnTo>
                    <a:pt x="692" y="362"/>
                  </a:lnTo>
                  <a:lnTo>
                    <a:pt x="686" y="354"/>
                  </a:lnTo>
                  <a:lnTo>
                    <a:pt x="686" y="346"/>
                  </a:lnTo>
                  <a:lnTo>
                    <a:pt x="700" y="346"/>
                  </a:lnTo>
                  <a:lnTo>
                    <a:pt x="701" y="118"/>
                  </a:lnTo>
                  <a:lnTo>
                    <a:pt x="696" y="108"/>
                  </a:lnTo>
                  <a:lnTo>
                    <a:pt x="682" y="104"/>
                  </a:lnTo>
                  <a:lnTo>
                    <a:pt x="668" y="80"/>
                  </a:lnTo>
                  <a:lnTo>
                    <a:pt x="670" y="74"/>
                  </a:lnTo>
                  <a:lnTo>
                    <a:pt x="686" y="62"/>
                  </a:lnTo>
                  <a:lnTo>
                    <a:pt x="692" y="50"/>
                  </a:lnTo>
                  <a:lnTo>
                    <a:pt x="694" y="38"/>
                  </a:lnTo>
                  <a:lnTo>
                    <a:pt x="658" y="3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4" name="Freeform 251"/>
            <p:cNvSpPr>
              <a:spLocks/>
            </p:cNvSpPr>
            <p:nvPr/>
          </p:nvSpPr>
          <p:spPr bwMode="auto">
            <a:xfrm>
              <a:off x="2278858" y="957878"/>
              <a:ext cx="716756" cy="1152525"/>
            </a:xfrm>
            <a:custGeom>
              <a:avLst/>
              <a:gdLst>
                <a:gd name="T0" fmla="*/ 272 w 602"/>
                <a:gd name="T1" fmla="*/ 918 h 968"/>
                <a:gd name="T2" fmla="*/ 602 w 602"/>
                <a:gd name="T3" fmla="*/ 656 h 968"/>
                <a:gd name="T4" fmla="*/ 584 w 602"/>
                <a:gd name="T5" fmla="*/ 624 h 968"/>
                <a:gd name="T6" fmla="*/ 570 w 602"/>
                <a:gd name="T7" fmla="*/ 624 h 968"/>
                <a:gd name="T8" fmla="*/ 564 w 602"/>
                <a:gd name="T9" fmla="*/ 636 h 968"/>
                <a:gd name="T10" fmla="*/ 548 w 602"/>
                <a:gd name="T11" fmla="*/ 638 h 968"/>
                <a:gd name="T12" fmla="*/ 530 w 602"/>
                <a:gd name="T13" fmla="*/ 636 h 968"/>
                <a:gd name="T14" fmla="*/ 498 w 602"/>
                <a:gd name="T15" fmla="*/ 628 h 968"/>
                <a:gd name="T16" fmla="*/ 482 w 602"/>
                <a:gd name="T17" fmla="*/ 640 h 968"/>
                <a:gd name="T18" fmla="*/ 450 w 602"/>
                <a:gd name="T19" fmla="*/ 630 h 968"/>
                <a:gd name="T20" fmla="*/ 444 w 602"/>
                <a:gd name="T21" fmla="*/ 642 h 968"/>
                <a:gd name="T22" fmla="*/ 428 w 602"/>
                <a:gd name="T23" fmla="*/ 630 h 968"/>
                <a:gd name="T24" fmla="*/ 424 w 602"/>
                <a:gd name="T25" fmla="*/ 610 h 968"/>
                <a:gd name="T26" fmla="*/ 424 w 602"/>
                <a:gd name="T27" fmla="*/ 588 h 968"/>
                <a:gd name="T28" fmla="*/ 406 w 602"/>
                <a:gd name="T29" fmla="*/ 582 h 968"/>
                <a:gd name="T30" fmla="*/ 396 w 602"/>
                <a:gd name="T31" fmla="*/ 562 h 968"/>
                <a:gd name="T32" fmla="*/ 402 w 602"/>
                <a:gd name="T33" fmla="*/ 552 h 968"/>
                <a:gd name="T34" fmla="*/ 394 w 602"/>
                <a:gd name="T35" fmla="*/ 538 h 968"/>
                <a:gd name="T36" fmla="*/ 386 w 602"/>
                <a:gd name="T37" fmla="*/ 512 h 968"/>
                <a:gd name="T38" fmla="*/ 384 w 602"/>
                <a:gd name="T39" fmla="*/ 496 h 968"/>
                <a:gd name="T40" fmla="*/ 382 w 602"/>
                <a:gd name="T41" fmla="*/ 482 h 968"/>
                <a:gd name="T42" fmla="*/ 372 w 602"/>
                <a:gd name="T43" fmla="*/ 458 h 968"/>
                <a:gd name="T44" fmla="*/ 358 w 602"/>
                <a:gd name="T45" fmla="*/ 472 h 968"/>
                <a:gd name="T46" fmla="*/ 338 w 602"/>
                <a:gd name="T47" fmla="*/ 480 h 968"/>
                <a:gd name="T48" fmla="*/ 320 w 602"/>
                <a:gd name="T49" fmla="*/ 464 h 968"/>
                <a:gd name="T50" fmla="*/ 324 w 602"/>
                <a:gd name="T51" fmla="*/ 438 h 968"/>
                <a:gd name="T52" fmla="*/ 340 w 602"/>
                <a:gd name="T53" fmla="*/ 422 h 968"/>
                <a:gd name="T54" fmla="*/ 336 w 602"/>
                <a:gd name="T55" fmla="*/ 412 h 968"/>
                <a:gd name="T56" fmla="*/ 338 w 602"/>
                <a:gd name="T57" fmla="*/ 392 h 968"/>
                <a:gd name="T58" fmla="*/ 346 w 602"/>
                <a:gd name="T59" fmla="*/ 380 h 968"/>
                <a:gd name="T60" fmla="*/ 356 w 602"/>
                <a:gd name="T61" fmla="*/ 352 h 968"/>
                <a:gd name="T62" fmla="*/ 366 w 602"/>
                <a:gd name="T63" fmla="*/ 334 h 968"/>
                <a:gd name="T64" fmla="*/ 340 w 602"/>
                <a:gd name="T65" fmla="*/ 326 h 968"/>
                <a:gd name="T66" fmla="*/ 340 w 602"/>
                <a:gd name="T67" fmla="*/ 316 h 968"/>
                <a:gd name="T68" fmla="*/ 332 w 602"/>
                <a:gd name="T69" fmla="*/ 312 h 968"/>
                <a:gd name="T70" fmla="*/ 322 w 602"/>
                <a:gd name="T71" fmla="*/ 290 h 968"/>
                <a:gd name="T72" fmla="*/ 298 w 602"/>
                <a:gd name="T73" fmla="*/ 242 h 968"/>
                <a:gd name="T74" fmla="*/ 278 w 602"/>
                <a:gd name="T75" fmla="*/ 222 h 968"/>
                <a:gd name="T76" fmla="*/ 276 w 602"/>
                <a:gd name="T77" fmla="*/ 208 h 968"/>
                <a:gd name="T78" fmla="*/ 276 w 602"/>
                <a:gd name="T79" fmla="*/ 192 h 968"/>
                <a:gd name="T80" fmla="*/ 256 w 602"/>
                <a:gd name="T81" fmla="*/ 138 h 968"/>
                <a:gd name="T82" fmla="*/ 202 w 602"/>
                <a:gd name="T83" fmla="*/ 0 h 968"/>
                <a:gd name="T84" fmla="*/ 132 w 602"/>
                <a:gd name="T85" fmla="*/ 346 h 968"/>
                <a:gd name="T86" fmla="*/ 134 w 602"/>
                <a:gd name="T87" fmla="*/ 390 h 968"/>
                <a:gd name="T88" fmla="*/ 154 w 602"/>
                <a:gd name="T89" fmla="*/ 424 h 968"/>
                <a:gd name="T90" fmla="*/ 120 w 602"/>
                <a:gd name="T91" fmla="*/ 472 h 968"/>
                <a:gd name="T92" fmla="*/ 102 w 602"/>
                <a:gd name="T93" fmla="*/ 500 h 968"/>
                <a:gd name="T94" fmla="*/ 80 w 602"/>
                <a:gd name="T95" fmla="*/ 518 h 968"/>
                <a:gd name="T96" fmla="*/ 52 w 602"/>
                <a:gd name="T97" fmla="*/ 570 h 968"/>
                <a:gd name="T98" fmla="*/ 76 w 602"/>
                <a:gd name="T99" fmla="*/ 592 h 968"/>
                <a:gd name="T100" fmla="*/ 68 w 602"/>
                <a:gd name="T101" fmla="*/ 610 h 968"/>
                <a:gd name="T102" fmla="*/ 0 w 602"/>
                <a:gd name="T103" fmla="*/ 858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02" h="968">
                  <a:moveTo>
                    <a:pt x="58" y="870"/>
                  </a:moveTo>
                  <a:lnTo>
                    <a:pt x="272" y="918"/>
                  </a:lnTo>
                  <a:lnTo>
                    <a:pt x="548" y="968"/>
                  </a:lnTo>
                  <a:lnTo>
                    <a:pt x="602" y="656"/>
                  </a:lnTo>
                  <a:lnTo>
                    <a:pt x="590" y="642"/>
                  </a:lnTo>
                  <a:lnTo>
                    <a:pt x="584" y="624"/>
                  </a:lnTo>
                  <a:lnTo>
                    <a:pt x="580" y="620"/>
                  </a:lnTo>
                  <a:lnTo>
                    <a:pt x="570" y="624"/>
                  </a:lnTo>
                  <a:lnTo>
                    <a:pt x="570" y="630"/>
                  </a:lnTo>
                  <a:lnTo>
                    <a:pt x="564" y="636"/>
                  </a:lnTo>
                  <a:lnTo>
                    <a:pt x="566" y="644"/>
                  </a:lnTo>
                  <a:lnTo>
                    <a:pt x="548" y="638"/>
                  </a:lnTo>
                  <a:lnTo>
                    <a:pt x="536" y="642"/>
                  </a:lnTo>
                  <a:lnTo>
                    <a:pt x="530" y="636"/>
                  </a:lnTo>
                  <a:lnTo>
                    <a:pt x="512" y="636"/>
                  </a:lnTo>
                  <a:lnTo>
                    <a:pt x="498" y="628"/>
                  </a:lnTo>
                  <a:lnTo>
                    <a:pt x="490" y="632"/>
                  </a:lnTo>
                  <a:lnTo>
                    <a:pt x="482" y="640"/>
                  </a:lnTo>
                  <a:lnTo>
                    <a:pt x="458" y="630"/>
                  </a:lnTo>
                  <a:lnTo>
                    <a:pt x="450" y="630"/>
                  </a:lnTo>
                  <a:lnTo>
                    <a:pt x="442" y="636"/>
                  </a:lnTo>
                  <a:lnTo>
                    <a:pt x="444" y="642"/>
                  </a:lnTo>
                  <a:lnTo>
                    <a:pt x="440" y="644"/>
                  </a:lnTo>
                  <a:lnTo>
                    <a:pt x="428" y="630"/>
                  </a:lnTo>
                  <a:lnTo>
                    <a:pt x="430" y="620"/>
                  </a:lnTo>
                  <a:lnTo>
                    <a:pt x="424" y="610"/>
                  </a:lnTo>
                  <a:lnTo>
                    <a:pt x="428" y="604"/>
                  </a:lnTo>
                  <a:lnTo>
                    <a:pt x="424" y="588"/>
                  </a:lnTo>
                  <a:lnTo>
                    <a:pt x="416" y="580"/>
                  </a:lnTo>
                  <a:lnTo>
                    <a:pt x="406" y="582"/>
                  </a:lnTo>
                  <a:lnTo>
                    <a:pt x="400" y="572"/>
                  </a:lnTo>
                  <a:lnTo>
                    <a:pt x="396" y="562"/>
                  </a:lnTo>
                  <a:lnTo>
                    <a:pt x="402" y="558"/>
                  </a:lnTo>
                  <a:lnTo>
                    <a:pt x="402" y="552"/>
                  </a:lnTo>
                  <a:lnTo>
                    <a:pt x="400" y="538"/>
                  </a:lnTo>
                  <a:lnTo>
                    <a:pt x="394" y="538"/>
                  </a:lnTo>
                  <a:lnTo>
                    <a:pt x="394" y="526"/>
                  </a:lnTo>
                  <a:lnTo>
                    <a:pt x="386" y="512"/>
                  </a:lnTo>
                  <a:lnTo>
                    <a:pt x="388" y="502"/>
                  </a:lnTo>
                  <a:lnTo>
                    <a:pt x="384" y="496"/>
                  </a:lnTo>
                  <a:lnTo>
                    <a:pt x="388" y="486"/>
                  </a:lnTo>
                  <a:lnTo>
                    <a:pt x="382" y="482"/>
                  </a:lnTo>
                  <a:lnTo>
                    <a:pt x="386" y="474"/>
                  </a:lnTo>
                  <a:lnTo>
                    <a:pt x="372" y="458"/>
                  </a:lnTo>
                  <a:lnTo>
                    <a:pt x="370" y="464"/>
                  </a:lnTo>
                  <a:lnTo>
                    <a:pt x="358" y="472"/>
                  </a:lnTo>
                  <a:lnTo>
                    <a:pt x="346" y="474"/>
                  </a:lnTo>
                  <a:lnTo>
                    <a:pt x="338" y="480"/>
                  </a:lnTo>
                  <a:lnTo>
                    <a:pt x="328" y="468"/>
                  </a:lnTo>
                  <a:lnTo>
                    <a:pt x="320" y="464"/>
                  </a:lnTo>
                  <a:lnTo>
                    <a:pt x="328" y="448"/>
                  </a:lnTo>
                  <a:lnTo>
                    <a:pt x="324" y="438"/>
                  </a:lnTo>
                  <a:lnTo>
                    <a:pt x="342" y="428"/>
                  </a:lnTo>
                  <a:lnTo>
                    <a:pt x="340" y="422"/>
                  </a:lnTo>
                  <a:lnTo>
                    <a:pt x="342" y="416"/>
                  </a:lnTo>
                  <a:lnTo>
                    <a:pt x="336" y="412"/>
                  </a:lnTo>
                  <a:lnTo>
                    <a:pt x="342" y="400"/>
                  </a:lnTo>
                  <a:lnTo>
                    <a:pt x="338" y="392"/>
                  </a:lnTo>
                  <a:lnTo>
                    <a:pt x="346" y="390"/>
                  </a:lnTo>
                  <a:lnTo>
                    <a:pt x="346" y="380"/>
                  </a:lnTo>
                  <a:lnTo>
                    <a:pt x="358" y="358"/>
                  </a:lnTo>
                  <a:lnTo>
                    <a:pt x="356" y="352"/>
                  </a:lnTo>
                  <a:lnTo>
                    <a:pt x="362" y="350"/>
                  </a:lnTo>
                  <a:lnTo>
                    <a:pt x="366" y="334"/>
                  </a:lnTo>
                  <a:lnTo>
                    <a:pt x="344" y="332"/>
                  </a:lnTo>
                  <a:lnTo>
                    <a:pt x="340" y="326"/>
                  </a:lnTo>
                  <a:lnTo>
                    <a:pt x="342" y="322"/>
                  </a:lnTo>
                  <a:lnTo>
                    <a:pt x="340" y="316"/>
                  </a:lnTo>
                  <a:lnTo>
                    <a:pt x="330" y="320"/>
                  </a:lnTo>
                  <a:lnTo>
                    <a:pt x="332" y="312"/>
                  </a:lnTo>
                  <a:lnTo>
                    <a:pt x="322" y="302"/>
                  </a:lnTo>
                  <a:lnTo>
                    <a:pt x="322" y="290"/>
                  </a:lnTo>
                  <a:lnTo>
                    <a:pt x="314" y="280"/>
                  </a:lnTo>
                  <a:lnTo>
                    <a:pt x="298" y="242"/>
                  </a:lnTo>
                  <a:lnTo>
                    <a:pt x="284" y="234"/>
                  </a:lnTo>
                  <a:lnTo>
                    <a:pt x="278" y="222"/>
                  </a:lnTo>
                  <a:lnTo>
                    <a:pt x="268" y="214"/>
                  </a:lnTo>
                  <a:lnTo>
                    <a:pt x="276" y="208"/>
                  </a:lnTo>
                  <a:lnTo>
                    <a:pt x="270" y="198"/>
                  </a:lnTo>
                  <a:lnTo>
                    <a:pt x="276" y="192"/>
                  </a:lnTo>
                  <a:lnTo>
                    <a:pt x="276" y="180"/>
                  </a:lnTo>
                  <a:lnTo>
                    <a:pt x="256" y="138"/>
                  </a:lnTo>
                  <a:lnTo>
                    <a:pt x="282" y="18"/>
                  </a:lnTo>
                  <a:lnTo>
                    <a:pt x="202" y="0"/>
                  </a:lnTo>
                  <a:lnTo>
                    <a:pt x="126" y="318"/>
                  </a:lnTo>
                  <a:lnTo>
                    <a:pt x="132" y="346"/>
                  </a:lnTo>
                  <a:lnTo>
                    <a:pt x="124" y="354"/>
                  </a:lnTo>
                  <a:lnTo>
                    <a:pt x="134" y="390"/>
                  </a:lnTo>
                  <a:lnTo>
                    <a:pt x="152" y="402"/>
                  </a:lnTo>
                  <a:lnTo>
                    <a:pt x="154" y="424"/>
                  </a:lnTo>
                  <a:lnTo>
                    <a:pt x="130" y="450"/>
                  </a:lnTo>
                  <a:lnTo>
                    <a:pt x="120" y="472"/>
                  </a:lnTo>
                  <a:lnTo>
                    <a:pt x="104" y="488"/>
                  </a:lnTo>
                  <a:lnTo>
                    <a:pt x="102" y="500"/>
                  </a:lnTo>
                  <a:lnTo>
                    <a:pt x="94" y="510"/>
                  </a:lnTo>
                  <a:lnTo>
                    <a:pt x="80" y="518"/>
                  </a:lnTo>
                  <a:lnTo>
                    <a:pt x="56" y="546"/>
                  </a:lnTo>
                  <a:lnTo>
                    <a:pt x="52" y="570"/>
                  </a:lnTo>
                  <a:lnTo>
                    <a:pt x="70" y="578"/>
                  </a:lnTo>
                  <a:lnTo>
                    <a:pt x="76" y="592"/>
                  </a:lnTo>
                  <a:lnTo>
                    <a:pt x="66" y="600"/>
                  </a:lnTo>
                  <a:lnTo>
                    <a:pt x="68" y="610"/>
                  </a:lnTo>
                  <a:lnTo>
                    <a:pt x="54" y="632"/>
                  </a:lnTo>
                  <a:lnTo>
                    <a:pt x="0" y="858"/>
                  </a:lnTo>
                  <a:lnTo>
                    <a:pt x="58" y="87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5" name="Freeform 252"/>
            <p:cNvSpPr>
              <a:spLocks/>
            </p:cNvSpPr>
            <p:nvPr/>
          </p:nvSpPr>
          <p:spPr bwMode="auto">
            <a:xfrm>
              <a:off x="3040857" y="2296141"/>
              <a:ext cx="881063" cy="691754"/>
            </a:xfrm>
            <a:custGeom>
              <a:avLst/>
              <a:gdLst>
                <a:gd name="T0" fmla="*/ 494 w 740"/>
                <a:gd name="T1" fmla="*/ 563 h 581"/>
                <a:gd name="T2" fmla="*/ 0 w 740"/>
                <a:gd name="T3" fmla="*/ 503 h 581"/>
                <a:gd name="T4" fmla="*/ 76 w 740"/>
                <a:gd name="T5" fmla="*/ 0 h 581"/>
                <a:gd name="T6" fmla="*/ 550 w 740"/>
                <a:gd name="T7" fmla="*/ 58 h 581"/>
                <a:gd name="T8" fmla="*/ 740 w 740"/>
                <a:gd name="T9" fmla="*/ 74 h 581"/>
                <a:gd name="T10" fmla="*/ 702 w 740"/>
                <a:gd name="T11" fmla="*/ 581 h 581"/>
                <a:gd name="T12" fmla="*/ 494 w 740"/>
                <a:gd name="T13" fmla="*/ 563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0" h="581">
                  <a:moveTo>
                    <a:pt x="494" y="563"/>
                  </a:moveTo>
                  <a:lnTo>
                    <a:pt x="0" y="503"/>
                  </a:lnTo>
                  <a:lnTo>
                    <a:pt x="76" y="0"/>
                  </a:lnTo>
                  <a:lnTo>
                    <a:pt x="550" y="58"/>
                  </a:lnTo>
                  <a:lnTo>
                    <a:pt x="740" y="74"/>
                  </a:lnTo>
                  <a:lnTo>
                    <a:pt x="702" y="581"/>
                  </a:lnTo>
                  <a:lnTo>
                    <a:pt x="494" y="563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6" name="Freeform 253"/>
            <p:cNvSpPr>
              <a:spLocks/>
            </p:cNvSpPr>
            <p:nvPr/>
          </p:nvSpPr>
          <p:spPr bwMode="auto">
            <a:xfrm>
              <a:off x="3231357" y="3054570"/>
              <a:ext cx="1675210" cy="1640681"/>
            </a:xfrm>
            <a:custGeom>
              <a:avLst/>
              <a:gdLst>
                <a:gd name="T0" fmla="*/ 42 w 1407"/>
                <a:gd name="T1" fmla="*/ 598 h 1378"/>
                <a:gd name="T2" fmla="*/ 168 w 1407"/>
                <a:gd name="T3" fmla="*/ 722 h 1378"/>
                <a:gd name="T4" fmla="*/ 290 w 1407"/>
                <a:gd name="T5" fmla="*/ 938 h 1378"/>
                <a:gd name="T6" fmla="*/ 422 w 1407"/>
                <a:gd name="T7" fmla="*/ 848 h 1378"/>
                <a:gd name="T8" fmla="*/ 610 w 1407"/>
                <a:gd name="T9" fmla="*/ 950 h 1378"/>
                <a:gd name="T10" fmla="*/ 692 w 1407"/>
                <a:gd name="T11" fmla="*/ 1122 h 1378"/>
                <a:gd name="T12" fmla="*/ 786 w 1407"/>
                <a:gd name="T13" fmla="*/ 1300 h 1378"/>
                <a:gd name="T14" fmla="*/ 880 w 1407"/>
                <a:gd name="T15" fmla="*/ 1348 h 1378"/>
                <a:gd name="T16" fmla="*/ 1010 w 1407"/>
                <a:gd name="T17" fmla="*/ 1378 h 1378"/>
                <a:gd name="T18" fmla="*/ 990 w 1407"/>
                <a:gd name="T19" fmla="*/ 1328 h 1378"/>
                <a:gd name="T20" fmla="*/ 984 w 1407"/>
                <a:gd name="T21" fmla="*/ 1244 h 1378"/>
                <a:gd name="T22" fmla="*/ 970 w 1407"/>
                <a:gd name="T23" fmla="*/ 1214 h 1378"/>
                <a:gd name="T24" fmla="*/ 982 w 1407"/>
                <a:gd name="T25" fmla="*/ 1202 h 1378"/>
                <a:gd name="T26" fmla="*/ 1004 w 1407"/>
                <a:gd name="T27" fmla="*/ 1160 h 1378"/>
                <a:gd name="T28" fmla="*/ 1032 w 1407"/>
                <a:gd name="T29" fmla="*/ 1114 h 1378"/>
                <a:gd name="T30" fmla="*/ 1020 w 1407"/>
                <a:gd name="T31" fmla="*/ 1102 h 1378"/>
                <a:gd name="T32" fmla="*/ 1060 w 1407"/>
                <a:gd name="T33" fmla="*/ 1080 h 1378"/>
                <a:gd name="T34" fmla="*/ 1086 w 1407"/>
                <a:gd name="T35" fmla="*/ 1066 h 1378"/>
                <a:gd name="T36" fmla="*/ 1084 w 1407"/>
                <a:gd name="T37" fmla="*/ 1042 h 1378"/>
                <a:gd name="T38" fmla="*/ 1098 w 1407"/>
                <a:gd name="T39" fmla="*/ 1032 h 1378"/>
                <a:gd name="T40" fmla="*/ 1106 w 1407"/>
                <a:gd name="T41" fmla="*/ 1028 h 1378"/>
                <a:gd name="T42" fmla="*/ 1117 w 1407"/>
                <a:gd name="T43" fmla="*/ 1036 h 1378"/>
                <a:gd name="T44" fmla="*/ 1131 w 1407"/>
                <a:gd name="T45" fmla="*/ 1024 h 1378"/>
                <a:gd name="T46" fmla="*/ 1169 w 1407"/>
                <a:gd name="T47" fmla="*/ 1028 h 1378"/>
                <a:gd name="T48" fmla="*/ 1127 w 1407"/>
                <a:gd name="T49" fmla="*/ 1052 h 1378"/>
                <a:gd name="T50" fmla="*/ 1233 w 1407"/>
                <a:gd name="T51" fmla="*/ 1002 h 1378"/>
                <a:gd name="T52" fmla="*/ 1259 w 1407"/>
                <a:gd name="T53" fmla="*/ 890 h 1378"/>
                <a:gd name="T54" fmla="*/ 1271 w 1407"/>
                <a:gd name="T55" fmla="*/ 910 h 1378"/>
                <a:gd name="T56" fmla="*/ 1269 w 1407"/>
                <a:gd name="T57" fmla="*/ 924 h 1378"/>
                <a:gd name="T58" fmla="*/ 1373 w 1407"/>
                <a:gd name="T59" fmla="*/ 896 h 1378"/>
                <a:gd name="T60" fmla="*/ 1379 w 1407"/>
                <a:gd name="T61" fmla="*/ 860 h 1378"/>
                <a:gd name="T62" fmla="*/ 1387 w 1407"/>
                <a:gd name="T63" fmla="*/ 822 h 1378"/>
                <a:gd name="T64" fmla="*/ 1383 w 1407"/>
                <a:gd name="T65" fmla="*/ 788 h 1378"/>
                <a:gd name="T66" fmla="*/ 1405 w 1407"/>
                <a:gd name="T67" fmla="*/ 740 h 1378"/>
                <a:gd name="T68" fmla="*/ 1401 w 1407"/>
                <a:gd name="T69" fmla="*/ 720 h 1378"/>
                <a:gd name="T70" fmla="*/ 1401 w 1407"/>
                <a:gd name="T71" fmla="*/ 708 h 1378"/>
                <a:gd name="T72" fmla="*/ 1391 w 1407"/>
                <a:gd name="T73" fmla="*/ 684 h 1378"/>
                <a:gd name="T74" fmla="*/ 1371 w 1407"/>
                <a:gd name="T75" fmla="*/ 658 h 1378"/>
                <a:gd name="T76" fmla="*/ 1347 w 1407"/>
                <a:gd name="T77" fmla="*/ 606 h 1378"/>
                <a:gd name="T78" fmla="*/ 1309 w 1407"/>
                <a:gd name="T79" fmla="*/ 408 h 1378"/>
                <a:gd name="T80" fmla="*/ 1249 w 1407"/>
                <a:gd name="T81" fmla="*/ 370 h 1378"/>
                <a:gd name="T82" fmla="*/ 1189 w 1407"/>
                <a:gd name="T83" fmla="*/ 368 h 1378"/>
                <a:gd name="T84" fmla="*/ 1165 w 1407"/>
                <a:gd name="T85" fmla="*/ 372 h 1378"/>
                <a:gd name="T86" fmla="*/ 1119 w 1407"/>
                <a:gd name="T87" fmla="*/ 382 h 1378"/>
                <a:gd name="T88" fmla="*/ 1100 w 1407"/>
                <a:gd name="T89" fmla="*/ 380 h 1378"/>
                <a:gd name="T90" fmla="*/ 1030 w 1407"/>
                <a:gd name="T91" fmla="*/ 370 h 1378"/>
                <a:gd name="T92" fmla="*/ 1016 w 1407"/>
                <a:gd name="T93" fmla="*/ 376 h 1378"/>
                <a:gd name="T94" fmla="*/ 988 w 1407"/>
                <a:gd name="T95" fmla="*/ 362 h 1378"/>
                <a:gd name="T96" fmla="*/ 970 w 1407"/>
                <a:gd name="T97" fmla="*/ 350 h 1378"/>
                <a:gd name="T98" fmla="*/ 938 w 1407"/>
                <a:gd name="T99" fmla="*/ 350 h 1378"/>
                <a:gd name="T100" fmla="*/ 896 w 1407"/>
                <a:gd name="T101" fmla="*/ 328 h 1378"/>
                <a:gd name="T102" fmla="*/ 856 w 1407"/>
                <a:gd name="T103" fmla="*/ 328 h 1378"/>
                <a:gd name="T104" fmla="*/ 810 w 1407"/>
                <a:gd name="T105" fmla="*/ 300 h 1378"/>
                <a:gd name="T106" fmla="*/ 774 w 1407"/>
                <a:gd name="T107" fmla="*/ 290 h 1378"/>
                <a:gd name="T108" fmla="*/ 728 w 1407"/>
                <a:gd name="T109" fmla="*/ 268 h 1378"/>
                <a:gd name="T110" fmla="*/ 384 w 1407"/>
                <a:gd name="T111" fmla="*/ 570 h 1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07" h="1378">
                  <a:moveTo>
                    <a:pt x="4" y="552"/>
                  </a:moveTo>
                  <a:lnTo>
                    <a:pt x="30" y="572"/>
                  </a:lnTo>
                  <a:lnTo>
                    <a:pt x="42" y="598"/>
                  </a:lnTo>
                  <a:lnTo>
                    <a:pt x="64" y="612"/>
                  </a:lnTo>
                  <a:lnTo>
                    <a:pt x="80" y="638"/>
                  </a:lnTo>
                  <a:lnTo>
                    <a:pt x="168" y="722"/>
                  </a:lnTo>
                  <a:lnTo>
                    <a:pt x="186" y="824"/>
                  </a:lnTo>
                  <a:lnTo>
                    <a:pt x="210" y="866"/>
                  </a:lnTo>
                  <a:lnTo>
                    <a:pt x="290" y="938"/>
                  </a:lnTo>
                  <a:lnTo>
                    <a:pt x="336" y="950"/>
                  </a:lnTo>
                  <a:lnTo>
                    <a:pt x="398" y="854"/>
                  </a:lnTo>
                  <a:lnTo>
                    <a:pt x="422" y="848"/>
                  </a:lnTo>
                  <a:lnTo>
                    <a:pt x="442" y="854"/>
                  </a:lnTo>
                  <a:lnTo>
                    <a:pt x="532" y="858"/>
                  </a:lnTo>
                  <a:lnTo>
                    <a:pt x="610" y="950"/>
                  </a:lnTo>
                  <a:lnTo>
                    <a:pt x="644" y="1046"/>
                  </a:lnTo>
                  <a:lnTo>
                    <a:pt x="676" y="1084"/>
                  </a:lnTo>
                  <a:lnTo>
                    <a:pt x="692" y="1122"/>
                  </a:lnTo>
                  <a:lnTo>
                    <a:pt x="726" y="1148"/>
                  </a:lnTo>
                  <a:lnTo>
                    <a:pt x="752" y="1246"/>
                  </a:lnTo>
                  <a:lnTo>
                    <a:pt x="786" y="1300"/>
                  </a:lnTo>
                  <a:lnTo>
                    <a:pt x="820" y="1324"/>
                  </a:lnTo>
                  <a:lnTo>
                    <a:pt x="850" y="1330"/>
                  </a:lnTo>
                  <a:lnTo>
                    <a:pt x="880" y="1348"/>
                  </a:lnTo>
                  <a:lnTo>
                    <a:pt x="936" y="1354"/>
                  </a:lnTo>
                  <a:lnTo>
                    <a:pt x="974" y="1374"/>
                  </a:lnTo>
                  <a:lnTo>
                    <a:pt x="1010" y="1378"/>
                  </a:lnTo>
                  <a:lnTo>
                    <a:pt x="1012" y="1372"/>
                  </a:lnTo>
                  <a:lnTo>
                    <a:pt x="1004" y="1366"/>
                  </a:lnTo>
                  <a:lnTo>
                    <a:pt x="990" y="1328"/>
                  </a:lnTo>
                  <a:lnTo>
                    <a:pt x="988" y="1324"/>
                  </a:lnTo>
                  <a:lnTo>
                    <a:pt x="976" y="1250"/>
                  </a:lnTo>
                  <a:lnTo>
                    <a:pt x="984" y="1244"/>
                  </a:lnTo>
                  <a:lnTo>
                    <a:pt x="986" y="1220"/>
                  </a:lnTo>
                  <a:lnTo>
                    <a:pt x="984" y="1216"/>
                  </a:lnTo>
                  <a:lnTo>
                    <a:pt x="970" y="1214"/>
                  </a:lnTo>
                  <a:lnTo>
                    <a:pt x="964" y="1210"/>
                  </a:lnTo>
                  <a:lnTo>
                    <a:pt x="968" y="1202"/>
                  </a:lnTo>
                  <a:lnTo>
                    <a:pt x="982" y="1202"/>
                  </a:lnTo>
                  <a:lnTo>
                    <a:pt x="988" y="1208"/>
                  </a:lnTo>
                  <a:lnTo>
                    <a:pt x="998" y="1202"/>
                  </a:lnTo>
                  <a:lnTo>
                    <a:pt x="1004" y="1160"/>
                  </a:lnTo>
                  <a:lnTo>
                    <a:pt x="992" y="1140"/>
                  </a:lnTo>
                  <a:lnTo>
                    <a:pt x="1022" y="1134"/>
                  </a:lnTo>
                  <a:lnTo>
                    <a:pt x="1032" y="1114"/>
                  </a:lnTo>
                  <a:lnTo>
                    <a:pt x="1032" y="1110"/>
                  </a:lnTo>
                  <a:lnTo>
                    <a:pt x="1020" y="1112"/>
                  </a:lnTo>
                  <a:lnTo>
                    <a:pt x="1020" y="1102"/>
                  </a:lnTo>
                  <a:lnTo>
                    <a:pt x="1040" y="1092"/>
                  </a:lnTo>
                  <a:lnTo>
                    <a:pt x="1048" y="1092"/>
                  </a:lnTo>
                  <a:lnTo>
                    <a:pt x="1060" y="1080"/>
                  </a:lnTo>
                  <a:lnTo>
                    <a:pt x="1062" y="1072"/>
                  </a:lnTo>
                  <a:lnTo>
                    <a:pt x="1066" y="1068"/>
                  </a:lnTo>
                  <a:lnTo>
                    <a:pt x="1086" y="1066"/>
                  </a:lnTo>
                  <a:lnTo>
                    <a:pt x="1094" y="1062"/>
                  </a:lnTo>
                  <a:lnTo>
                    <a:pt x="1096" y="1052"/>
                  </a:lnTo>
                  <a:lnTo>
                    <a:pt x="1084" y="1042"/>
                  </a:lnTo>
                  <a:lnTo>
                    <a:pt x="1084" y="1034"/>
                  </a:lnTo>
                  <a:lnTo>
                    <a:pt x="1088" y="1028"/>
                  </a:lnTo>
                  <a:lnTo>
                    <a:pt x="1098" y="1032"/>
                  </a:lnTo>
                  <a:lnTo>
                    <a:pt x="1104" y="1038"/>
                  </a:lnTo>
                  <a:lnTo>
                    <a:pt x="1106" y="1036"/>
                  </a:lnTo>
                  <a:lnTo>
                    <a:pt x="1106" y="1028"/>
                  </a:lnTo>
                  <a:lnTo>
                    <a:pt x="1108" y="1024"/>
                  </a:lnTo>
                  <a:lnTo>
                    <a:pt x="1114" y="1026"/>
                  </a:lnTo>
                  <a:lnTo>
                    <a:pt x="1117" y="1036"/>
                  </a:lnTo>
                  <a:lnTo>
                    <a:pt x="1121" y="1036"/>
                  </a:lnTo>
                  <a:lnTo>
                    <a:pt x="1127" y="1032"/>
                  </a:lnTo>
                  <a:lnTo>
                    <a:pt x="1131" y="1024"/>
                  </a:lnTo>
                  <a:lnTo>
                    <a:pt x="1133" y="1022"/>
                  </a:lnTo>
                  <a:lnTo>
                    <a:pt x="1137" y="1038"/>
                  </a:lnTo>
                  <a:lnTo>
                    <a:pt x="1169" y="1028"/>
                  </a:lnTo>
                  <a:lnTo>
                    <a:pt x="1175" y="1030"/>
                  </a:lnTo>
                  <a:lnTo>
                    <a:pt x="1173" y="1032"/>
                  </a:lnTo>
                  <a:lnTo>
                    <a:pt x="1127" y="1052"/>
                  </a:lnTo>
                  <a:lnTo>
                    <a:pt x="1123" y="1058"/>
                  </a:lnTo>
                  <a:lnTo>
                    <a:pt x="1127" y="1060"/>
                  </a:lnTo>
                  <a:lnTo>
                    <a:pt x="1233" y="1002"/>
                  </a:lnTo>
                  <a:lnTo>
                    <a:pt x="1251" y="960"/>
                  </a:lnTo>
                  <a:lnTo>
                    <a:pt x="1253" y="896"/>
                  </a:lnTo>
                  <a:lnTo>
                    <a:pt x="1259" y="890"/>
                  </a:lnTo>
                  <a:lnTo>
                    <a:pt x="1265" y="886"/>
                  </a:lnTo>
                  <a:lnTo>
                    <a:pt x="1271" y="886"/>
                  </a:lnTo>
                  <a:lnTo>
                    <a:pt x="1271" y="910"/>
                  </a:lnTo>
                  <a:lnTo>
                    <a:pt x="1285" y="910"/>
                  </a:lnTo>
                  <a:lnTo>
                    <a:pt x="1283" y="920"/>
                  </a:lnTo>
                  <a:lnTo>
                    <a:pt x="1269" y="924"/>
                  </a:lnTo>
                  <a:lnTo>
                    <a:pt x="1275" y="926"/>
                  </a:lnTo>
                  <a:lnTo>
                    <a:pt x="1337" y="898"/>
                  </a:lnTo>
                  <a:lnTo>
                    <a:pt x="1373" y="896"/>
                  </a:lnTo>
                  <a:lnTo>
                    <a:pt x="1361" y="882"/>
                  </a:lnTo>
                  <a:lnTo>
                    <a:pt x="1373" y="872"/>
                  </a:lnTo>
                  <a:lnTo>
                    <a:pt x="1379" y="860"/>
                  </a:lnTo>
                  <a:lnTo>
                    <a:pt x="1385" y="850"/>
                  </a:lnTo>
                  <a:lnTo>
                    <a:pt x="1389" y="840"/>
                  </a:lnTo>
                  <a:lnTo>
                    <a:pt x="1387" y="822"/>
                  </a:lnTo>
                  <a:lnTo>
                    <a:pt x="1381" y="814"/>
                  </a:lnTo>
                  <a:lnTo>
                    <a:pt x="1387" y="802"/>
                  </a:lnTo>
                  <a:lnTo>
                    <a:pt x="1383" y="788"/>
                  </a:lnTo>
                  <a:lnTo>
                    <a:pt x="1401" y="754"/>
                  </a:lnTo>
                  <a:lnTo>
                    <a:pt x="1401" y="746"/>
                  </a:lnTo>
                  <a:lnTo>
                    <a:pt x="1405" y="740"/>
                  </a:lnTo>
                  <a:lnTo>
                    <a:pt x="1401" y="732"/>
                  </a:lnTo>
                  <a:lnTo>
                    <a:pt x="1407" y="728"/>
                  </a:lnTo>
                  <a:lnTo>
                    <a:pt x="1401" y="720"/>
                  </a:lnTo>
                  <a:lnTo>
                    <a:pt x="1403" y="708"/>
                  </a:lnTo>
                  <a:lnTo>
                    <a:pt x="1401" y="708"/>
                  </a:lnTo>
                  <a:lnTo>
                    <a:pt x="1401" y="708"/>
                  </a:lnTo>
                  <a:lnTo>
                    <a:pt x="1397" y="706"/>
                  </a:lnTo>
                  <a:lnTo>
                    <a:pt x="1389" y="692"/>
                  </a:lnTo>
                  <a:lnTo>
                    <a:pt x="1391" y="684"/>
                  </a:lnTo>
                  <a:lnTo>
                    <a:pt x="1381" y="672"/>
                  </a:lnTo>
                  <a:lnTo>
                    <a:pt x="1383" y="668"/>
                  </a:lnTo>
                  <a:lnTo>
                    <a:pt x="1371" y="658"/>
                  </a:lnTo>
                  <a:lnTo>
                    <a:pt x="1373" y="644"/>
                  </a:lnTo>
                  <a:lnTo>
                    <a:pt x="1371" y="632"/>
                  </a:lnTo>
                  <a:lnTo>
                    <a:pt x="1347" y="606"/>
                  </a:lnTo>
                  <a:lnTo>
                    <a:pt x="1345" y="410"/>
                  </a:lnTo>
                  <a:lnTo>
                    <a:pt x="1331" y="404"/>
                  </a:lnTo>
                  <a:lnTo>
                    <a:pt x="1309" y="408"/>
                  </a:lnTo>
                  <a:lnTo>
                    <a:pt x="1301" y="398"/>
                  </a:lnTo>
                  <a:lnTo>
                    <a:pt x="1259" y="384"/>
                  </a:lnTo>
                  <a:lnTo>
                    <a:pt x="1249" y="370"/>
                  </a:lnTo>
                  <a:lnTo>
                    <a:pt x="1223" y="358"/>
                  </a:lnTo>
                  <a:lnTo>
                    <a:pt x="1211" y="370"/>
                  </a:lnTo>
                  <a:lnTo>
                    <a:pt x="1189" y="368"/>
                  </a:lnTo>
                  <a:lnTo>
                    <a:pt x="1183" y="360"/>
                  </a:lnTo>
                  <a:lnTo>
                    <a:pt x="1165" y="366"/>
                  </a:lnTo>
                  <a:lnTo>
                    <a:pt x="1165" y="372"/>
                  </a:lnTo>
                  <a:lnTo>
                    <a:pt x="1147" y="366"/>
                  </a:lnTo>
                  <a:lnTo>
                    <a:pt x="1125" y="374"/>
                  </a:lnTo>
                  <a:lnTo>
                    <a:pt x="1119" y="382"/>
                  </a:lnTo>
                  <a:lnTo>
                    <a:pt x="1112" y="382"/>
                  </a:lnTo>
                  <a:lnTo>
                    <a:pt x="1108" y="390"/>
                  </a:lnTo>
                  <a:lnTo>
                    <a:pt x="1100" y="380"/>
                  </a:lnTo>
                  <a:lnTo>
                    <a:pt x="1070" y="370"/>
                  </a:lnTo>
                  <a:lnTo>
                    <a:pt x="1060" y="360"/>
                  </a:lnTo>
                  <a:lnTo>
                    <a:pt x="1030" y="370"/>
                  </a:lnTo>
                  <a:lnTo>
                    <a:pt x="1032" y="374"/>
                  </a:lnTo>
                  <a:lnTo>
                    <a:pt x="1024" y="386"/>
                  </a:lnTo>
                  <a:lnTo>
                    <a:pt x="1016" y="376"/>
                  </a:lnTo>
                  <a:lnTo>
                    <a:pt x="1016" y="364"/>
                  </a:lnTo>
                  <a:lnTo>
                    <a:pt x="992" y="372"/>
                  </a:lnTo>
                  <a:lnTo>
                    <a:pt x="988" y="362"/>
                  </a:lnTo>
                  <a:lnTo>
                    <a:pt x="976" y="362"/>
                  </a:lnTo>
                  <a:lnTo>
                    <a:pt x="976" y="354"/>
                  </a:lnTo>
                  <a:lnTo>
                    <a:pt x="970" y="350"/>
                  </a:lnTo>
                  <a:lnTo>
                    <a:pt x="946" y="366"/>
                  </a:lnTo>
                  <a:lnTo>
                    <a:pt x="936" y="362"/>
                  </a:lnTo>
                  <a:lnTo>
                    <a:pt x="938" y="350"/>
                  </a:lnTo>
                  <a:lnTo>
                    <a:pt x="924" y="344"/>
                  </a:lnTo>
                  <a:lnTo>
                    <a:pt x="924" y="330"/>
                  </a:lnTo>
                  <a:lnTo>
                    <a:pt x="896" y="328"/>
                  </a:lnTo>
                  <a:lnTo>
                    <a:pt x="886" y="338"/>
                  </a:lnTo>
                  <a:lnTo>
                    <a:pt x="872" y="326"/>
                  </a:lnTo>
                  <a:lnTo>
                    <a:pt x="856" y="328"/>
                  </a:lnTo>
                  <a:lnTo>
                    <a:pt x="832" y="316"/>
                  </a:lnTo>
                  <a:lnTo>
                    <a:pt x="812" y="316"/>
                  </a:lnTo>
                  <a:lnTo>
                    <a:pt x="810" y="300"/>
                  </a:lnTo>
                  <a:lnTo>
                    <a:pt x="794" y="284"/>
                  </a:lnTo>
                  <a:lnTo>
                    <a:pt x="788" y="294"/>
                  </a:lnTo>
                  <a:lnTo>
                    <a:pt x="774" y="290"/>
                  </a:lnTo>
                  <a:lnTo>
                    <a:pt x="764" y="292"/>
                  </a:lnTo>
                  <a:lnTo>
                    <a:pt x="740" y="268"/>
                  </a:lnTo>
                  <a:lnTo>
                    <a:pt x="728" y="268"/>
                  </a:lnTo>
                  <a:lnTo>
                    <a:pt x="740" y="22"/>
                  </a:lnTo>
                  <a:lnTo>
                    <a:pt x="432" y="0"/>
                  </a:lnTo>
                  <a:lnTo>
                    <a:pt x="384" y="570"/>
                  </a:lnTo>
                  <a:lnTo>
                    <a:pt x="0" y="530"/>
                  </a:lnTo>
                  <a:lnTo>
                    <a:pt x="4" y="552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7" name="Freeform 254"/>
            <p:cNvSpPr>
              <a:spLocks/>
            </p:cNvSpPr>
            <p:nvPr/>
          </p:nvSpPr>
          <p:spPr bwMode="auto">
            <a:xfrm>
              <a:off x="5113736" y="2162791"/>
              <a:ext cx="473869" cy="841772"/>
            </a:xfrm>
            <a:custGeom>
              <a:avLst/>
              <a:gdLst>
                <a:gd name="T0" fmla="*/ 334 w 398"/>
                <a:gd name="T1" fmla="*/ 0 h 707"/>
                <a:gd name="T2" fmla="*/ 90 w 398"/>
                <a:gd name="T3" fmla="*/ 28 h 707"/>
                <a:gd name="T4" fmla="*/ 116 w 398"/>
                <a:gd name="T5" fmla="*/ 58 h 707"/>
                <a:gd name="T6" fmla="*/ 116 w 398"/>
                <a:gd name="T7" fmla="*/ 96 h 707"/>
                <a:gd name="T8" fmla="*/ 102 w 398"/>
                <a:gd name="T9" fmla="*/ 126 h 707"/>
                <a:gd name="T10" fmla="*/ 38 w 398"/>
                <a:gd name="T11" fmla="*/ 152 h 707"/>
                <a:gd name="T12" fmla="*/ 48 w 398"/>
                <a:gd name="T13" fmla="*/ 190 h 707"/>
                <a:gd name="T14" fmla="*/ 38 w 398"/>
                <a:gd name="T15" fmla="*/ 224 h 707"/>
                <a:gd name="T16" fmla="*/ 8 w 398"/>
                <a:gd name="T17" fmla="*/ 260 h 707"/>
                <a:gd name="T18" fmla="*/ 4 w 398"/>
                <a:gd name="T19" fmla="*/ 286 h 707"/>
                <a:gd name="T20" fmla="*/ 16 w 398"/>
                <a:gd name="T21" fmla="*/ 368 h 707"/>
                <a:gd name="T22" fmla="*/ 50 w 398"/>
                <a:gd name="T23" fmla="*/ 402 h 707"/>
                <a:gd name="T24" fmla="*/ 86 w 398"/>
                <a:gd name="T25" fmla="*/ 460 h 707"/>
                <a:gd name="T26" fmla="*/ 100 w 398"/>
                <a:gd name="T27" fmla="*/ 472 h 707"/>
                <a:gd name="T28" fmla="*/ 128 w 398"/>
                <a:gd name="T29" fmla="*/ 464 h 707"/>
                <a:gd name="T30" fmla="*/ 142 w 398"/>
                <a:gd name="T31" fmla="*/ 478 h 707"/>
                <a:gd name="T32" fmla="*/ 138 w 398"/>
                <a:gd name="T33" fmla="*/ 502 h 707"/>
                <a:gd name="T34" fmla="*/ 124 w 398"/>
                <a:gd name="T35" fmla="*/ 553 h 707"/>
                <a:gd name="T36" fmla="*/ 168 w 398"/>
                <a:gd name="T37" fmla="*/ 585 h 707"/>
                <a:gd name="T38" fmla="*/ 210 w 398"/>
                <a:gd name="T39" fmla="*/ 633 h 707"/>
                <a:gd name="T40" fmla="*/ 212 w 398"/>
                <a:gd name="T41" fmla="*/ 671 h 707"/>
                <a:gd name="T42" fmla="*/ 228 w 398"/>
                <a:gd name="T43" fmla="*/ 697 h 707"/>
                <a:gd name="T44" fmla="*/ 236 w 398"/>
                <a:gd name="T45" fmla="*/ 693 h 707"/>
                <a:gd name="T46" fmla="*/ 248 w 398"/>
                <a:gd name="T47" fmla="*/ 705 h 707"/>
                <a:gd name="T48" fmla="*/ 250 w 398"/>
                <a:gd name="T49" fmla="*/ 693 h 707"/>
                <a:gd name="T50" fmla="*/ 314 w 398"/>
                <a:gd name="T51" fmla="*/ 689 h 707"/>
                <a:gd name="T52" fmla="*/ 314 w 398"/>
                <a:gd name="T53" fmla="*/ 661 h 707"/>
                <a:gd name="T54" fmla="*/ 354 w 398"/>
                <a:gd name="T55" fmla="*/ 633 h 707"/>
                <a:gd name="T56" fmla="*/ 356 w 398"/>
                <a:gd name="T57" fmla="*/ 591 h 707"/>
                <a:gd name="T58" fmla="*/ 350 w 398"/>
                <a:gd name="T59" fmla="*/ 591 h 707"/>
                <a:gd name="T60" fmla="*/ 348 w 398"/>
                <a:gd name="T61" fmla="*/ 581 h 707"/>
                <a:gd name="T62" fmla="*/ 352 w 398"/>
                <a:gd name="T63" fmla="*/ 561 h 707"/>
                <a:gd name="T64" fmla="*/ 354 w 398"/>
                <a:gd name="T65" fmla="*/ 555 h 707"/>
                <a:gd name="T66" fmla="*/ 356 w 398"/>
                <a:gd name="T67" fmla="*/ 537 h 707"/>
                <a:gd name="T68" fmla="*/ 370 w 398"/>
                <a:gd name="T69" fmla="*/ 529 h 707"/>
                <a:gd name="T70" fmla="*/ 388 w 398"/>
                <a:gd name="T71" fmla="*/ 502 h 707"/>
                <a:gd name="T72" fmla="*/ 398 w 398"/>
                <a:gd name="T73" fmla="*/ 470 h 707"/>
                <a:gd name="T74" fmla="*/ 394 w 398"/>
                <a:gd name="T75" fmla="*/ 444 h 707"/>
                <a:gd name="T76" fmla="*/ 386 w 398"/>
                <a:gd name="T77" fmla="*/ 412 h 707"/>
                <a:gd name="T78" fmla="*/ 392 w 398"/>
                <a:gd name="T79" fmla="*/ 390 h 707"/>
                <a:gd name="T80" fmla="*/ 336 w 398"/>
                <a:gd name="T81" fmla="*/ 24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98" h="707">
                  <a:moveTo>
                    <a:pt x="336" y="24"/>
                  </a:moveTo>
                  <a:lnTo>
                    <a:pt x="334" y="0"/>
                  </a:lnTo>
                  <a:lnTo>
                    <a:pt x="70" y="16"/>
                  </a:lnTo>
                  <a:lnTo>
                    <a:pt x="90" y="28"/>
                  </a:lnTo>
                  <a:lnTo>
                    <a:pt x="94" y="42"/>
                  </a:lnTo>
                  <a:lnTo>
                    <a:pt x="116" y="58"/>
                  </a:lnTo>
                  <a:lnTo>
                    <a:pt x="120" y="74"/>
                  </a:lnTo>
                  <a:lnTo>
                    <a:pt x="116" y="96"/>
                  </a:lnTo>
                  <a:lnTo>
                    <a:pt x="106" y="106"/>
                  </a:lnTo>
                  <a:lnTo>
                    <a:pt x="102" y="126"/>
                  </a:lnTo>
                  <a:lnTo>
                    <a:pt x="72" y="144"/>
                  </a:lnTo>
                  <a:lnTo>
                    <a:pt x="38" y="152"/>
                  </a:lnTo>
                  <a:lnTo>
                    <a:pt x="34" y="174"/>
                  </a:lnTo>
                  <a:lnTo>
                    <a:pt x="48" y="190"/>
                  </a:lnTo>
                  <a:lnTo>
                    <a:pt x="50" y="208"/>
                  </a:lnTo>
                  <a:lnTo>
                    <a:pt x="38" y="224"/>
                  </a:lnTo>
                  <a:lnTo>
                    <a:pt x="34" y="246"/>
                  </a:lnTo>
                  <a:lnTo>
                    <a:pt x="8" y="260"/>
                  </a:lnTo>
                  <a:lnTo>
                    <a:pt x="12" y="280"/>
                  </a:lnTo>
                  <a:lnTo>
                    <a:pt x="4" y="286"/>
                  </a:lnTo>
                  <a:lnTo>
                    <a:pt x="0" y="318"/>
                  </a:lnTo>
                  <a:lnTo>
                    <a:pt x="16" y="368"/>
                  </a:lnTo>
                  <a:lnTo>
                    <a:pt x="44" y="390"/>
                  </a:lnTo>
                  <a:lnTo>
                    <a:pt x="50" y="402"/>
                  </a:lnTo>
                  <a:lnTo>
                    <a:pt x="74" y="420"/>
                  </a:lnTo>
                  <a:lnTo>
                    <a:pt x="86" y="460"/>
                  </a:lnTo>
                  <a:lnTo>
                    <a:pt x="92" y="470"/>
                  </a:lnTo>
                  <a:lnTo>
                    <a:pt x="100" y="472"/>
                  </a:lnTo>
                  <a:lnTo>
                    <a:pt x="110" y="460"/>
                  </a:lnTo>
                  <a:lnTo>
                    <a:pt x="128" y="464"/>
                  </a:lnTo>
                  <a:lnTo>
                    <a:pt x="142" y="474"/>
                  </a:lnTo>
                  <a:lnTo>
                    <a:pt x="142" y="478"/>
                  </a:lnTo>
                  <a:lnTo>
                    <a:pt x="136" y="490"/>
                  </a:lnTo>
                  <a:lnTo>
                    <a:pt x="138" y="502"/>
                  </a:lnTo>
                  <a:lnTo>
                    <a:pt x="120" y="537"/>
                  </a:lnTo>
                  <a:lnTo>
                    <a:pt x="124" y="553"/>
                  </a:lnTo>
                  <a:lnTo>
                    <a:pt x="156" y="583"/>
                  </a:lnTo>
                  <a:lnTo>
                    <a:pt x="168" y="585"/>
                  </a:lnTo>
                  <a:lnTo>
                    <a:pt x="210" y="617"/>
                  </a:lnTo>
                  <a:lnTo>
                    <a:pt x="210" y="633"/>
                  </a:lnTo>
                  <a:lnTo>
                    <a:pt x="220" y="651"/>
                  </a:lnTo>
                  <a:lnTo>
                    <a:pt x="212" y="671"/>
                  </a:lnTo>
                  <a:lnTo>
                    <a:pt x="218" y="673"/>
                  </a:lnTo>
                  <a:lnTo>
                    <a:pt x="228" y="697"/>
                  </a:lnTo>
                  <a:lnTo>
                    <a:pt x="240" y="703"/>
                  </a:lnTo>
                  <a:lnTo>
                    <a:pt x="236" y="693"/>
                  </a:lnTo>
                  <a:lnTo>
                    <a:pt x="240" y="691"/>
                  </a:lnTo>
                  <a:lnTo>
                    <a:pt x="248" y="705"/>
                  </a:lnTo>
                  <a:lnTo>
                    <a:pt x="256" y="707"/>
                  </a:lnTo>
                  <a:lnTo>
                    <a:pt x="250" y="693"/>
                  </a:lnTo>
                  <a:lnTo>
                    <a:pt x="266" y="673"/>
                  </a:lnTo>
                  <a:lnTo>
                    <a:pt x="314" y="689"/>
                  </a:lnTo>
                  <a:lnTo>
                    <a:pt x="324" y="679"/>
                  </a:lnTo>
                  <a:lnTo>
                    <a:pt x="314" y="661"/>
                  </a:lnTo>
                  <a:lnTo>
                    <a:pt x="316" y="647"/>
                  </a:lnTo>
                  <a:lnTo>
                    <a:pt x="354" y="633"/>
                  </a:lnTo>
                  <a:lnTo>
                    <a:pt x="346" y="611"/>
                  </a:lnTo>
                  <a:lnTo>
                    <a:pt x="356" y="591"/>
                  </a:lnTo>
                  <a:lnTo>
                    <a:pt x="354" y="591"/>
                  </a:lnTo>
                  <a:lnTo>
                    <a:pt x="350" y="591"/>
                  </a:lnTo>
                  <a:lnTo>
                    <a:pt x="356" y="587"/>
                  </a:lnTo>
                  <a:lnTo>
                    <a:pt x="348" y="581"/>
                  </a:lnTo>
                  <a:lnTo>
                    <a:pt x="356" y="581"/>
                  </a:lnTo>
                  <a:lnTo>
                    <a:pt x="352" y="561"/>
                  </a:lnTo>
                  <a:lnTo>
                    <a:pt x="360" y="557"/>
                  </a:lnTo>
                  <a:lnTo>
                    <a:pt x="354" y="555"/>
                  </a:lnTo>
                  <a:lnTo>
                    <a:pt x="364" y="549"/>
                  </a:lnTo>
                  <a:lnTo>
                    <a:pt x="356" y="537"/>
                  </a:lnTo>
                  <a:lnTo>
                    <a:pt x="360" y="529"/>
                  </a:lnTo>
                  <a:lnTo>
                    <a:pt x="370" y="529"/>
                  </a:lnTo>
                  <a:lnTo>
                    <a:pt x="378" y="508"/>
                  </a:lnTo>
                  <a:lnTo>
                    <a:pt x="388" y="502"/>
                  </a:lnTo>
                  <a:lnTo>
                    <a:pt x="386" y="494"/>
                  </a:lnTo>
                  <a:lnTo>
                    <a:pt x="398" y="470"/>
                  </a:lnTo>
                  <a:lnTo>
                    <a:pt x="392" y="454"/>
                  </a:lnTo>
                  <a:lnTo>
                    <a:pt x="394" y="444"/>
                  </a:lnTo>
                  <a:lnTo>
                    <a:pt x="380" y="424"/>
                  </a:lnTo>
                  <a:lnTo>
                    <a:pt x="386" y="412"/>
                  </a:lnTo>
                  <a:lnTo>
                    <a:pt x="382" y="400"/>
                  </a:lnTo>
                  <a:lnTo>
                    <a:pt x="392" y="390"/>
                  </a:lnTo>
                  <a:lnTo>
                    <a:pt x="368" y="92"/>
                  </a:lnTo>
                  <a:lnTo>
                    <a:pt x="336" y="24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8" name="Freeform 255"/>
            <p:cNvSpPr>
              <a:spLocks/>
            </p:cNvSpPr>
            <p:nvPr/>
          </p:nvSpPr>
          <p:spPr bwMode="auto">
            <a:xfrm>
              <a:off x="5854305" y="2143741"/>
              <a:ext cx="502444" cy="569119"/>
            </a:xfrm>
            <a:custGeom>
              <a:avLst/>
              <a:gdLst>
                <a:gd name="T0" fmla="*/ 372 w 422"/>
                <a:gd name="T1" fmla="*/ 8 h 478"/>
                <a:gd name="T2" fmla="*/ 286 w 422"/>
                <a:gd name="T3" fmla="*/ 74 h 478"/>
                <a:gd name="T4" fmla="*/ 258 w 422"/>
                <a:gd name="T5" fmla="*/ 76 h 478"/>
                <a:gd name="T6" fmla="*/ 228 w 422"/>
                <a:gd name="T7" fmla="*/ 92 h 478"/>
                <a:gd name="T8" fmla="*/ 196 w 422"/>
                <a:gd name="T9" fmla="*/ 90 h 478"/>
                <a:gd name="T10" fmla="*/ 190 w 422"/>
                <a:gd name="T11" fmla="*/ 86 h 478"/>
                <a:gd name="T12" fmla="*/ 178 w 422"/>
                <a:gd name="T13" fmla="*/ 88 h 478"/>
                <a:gd name="T14" fmla="*/ 170 w 422"/>
                <a:gd name="T15" fmla="*/ 86 h 478"/>
                <a:gd name="T16" fmla="*/ 156 w 422"/>
                <a:gd name="T17" fmla="*/ 76 h 478"/>
                <a:gd name="T18" fmla="*/ 130 w 422"/>
                <a:gd name="T19" fmla="*/ 70 h 478"/>
                <a:gd name="T20" fmla="*/ 0 w 422"/>
                <a:gd name="T21" fmla="*/ 86 h 478"/>
                <a:gd name="T22" fmla="*/ 36 w 422"/>
                <a:gd name="T23" fmla="*/ 416 h 478"/>
                <a:gd name="T24" fmla="*/ 44 w 422"/>
                <a:gd name="T25" fmla="*/ 410 h 478"/>
                <a:gd name="T26" fmla="*/ 56 w 422"/>
                <a:gd name="T27" fmla="*/ 418 h 478"/>
                <a:gd name="T28" fmla="*/ 72 w 422"/>
                <a:gd name="T29" fmla="*/ 412 h 478"/>
                <a:gd name="T30" fmla="*/ 86 w 422"/>
                <a:gd name="T31" fmla="*/ 422 h 478"/>
                <a:gd name="T32" fmla="*/ 98 w 422"/>
                <a:gd name="T33" fmla="*/ 446 h 478"/>
                <a:gd name="T34" fmla="*/ 132 w 422"/>
                <a:gd name="T35" fmla="*/ 448 h 478"/>
                <a:gd name="T36" fmla="*/ 146 w 422"/>
                <a:gd name="T37" fmla="*/ 462 h 478"/>
                <a:gd name="T38" fmla="*/ 156 w 422"/>
                <a:gd name="T39" fmla="*/ 462 h 478"/>
                <a:gd name="T40" fmla="*/ 158 w 422"/>
                <a:gd name="T41" fmla="*/ 456 h 478"/>
                <a:gd name="T42" fmla="*/ 168 w 422"/>
                <a:gd name="T43" fmla="*/ 452 h 478"/>
                <a:gd name="T44" fmla="*/ 190 w 422"/>
                <a:gd name="T45" fmla="*/ 464 h 478"/>
                <a:gd name="T46" fmla="*/ 206 w 422"/>
                <a:gd name="T47" fmla="*/ 458 h 478"/>
                <a:gd name="T48" fmla="*/ 216 w 422"/>
                <a:gd name="T49" fmla="*/ 444 h 478"/>
                <a:gd name="T50" fmla="*/ 228 w 422"/>
                <a:gd name="T51" fmla="*/ 440 h 478"/>
                <a:gd name="T52" fmla="*/ 236 w 422"/>
                <a:gd name="T53" fmla="*/ 460 h 478"/>
                <a:gd name="T54" fmla="*/ 250 w 422"/>
                <a:gd name="T55" fmla="*/ 462 h 478"/>
                <a:gd name="T56" fmla="*/ 264 w 422"/>
                <a:gd name="T57" fmla="*/ 478 h 478"/>
                <a:gd name="T58" fmla="*/ 288 w 422"/>
                <a:gd name="T59" fmla="*/ 470 h 478"/>
                <a:gd name="T60" fmla="*/ 290 w 422"/>
                <a:gd name="T61" fmla="*/ 452 h 478"/>
                <a:gd name="T62" fmla="*/ 300 w 422"/>
                <a:gd name="T63" fmla="*/ 446 h 478"/>
                <a:gd name="T64" fmla="*/ 292 w 422"/>
                <a:gd name="T65" fmla="*/ 426 h 478"/>
                <a:gd name="T66" fmla="*/ 306 w 422"/>
                <a:gd name="T67" fmla="*/ 396 h 478"/>
                <a:gd name="T68" fmla="*/ 316 w 422"/>
                <a:gd name="T69" fmla="*/ 396 h 478"/>
                <a:gd name="T70" fmla="*/ 320 w 422"/>
                <a:gd name="T71" fmla="*/ 410 h 478"/>
                <a:gd name="T72" fmla="*/ 328 w 422"/>
                <a:gd name="T73" fmla="*/ 400 h 478"/>
                <a:gd name="T74" fmla="*/ 334 w 422"/>
                <a:gd name="T75" fmla="*/ 402 h 478"/>
                <a:gd name="T76" fmla="*/ 326 w 422"/>
                <a:gd name="T77" fmla="*/ 384 h 478"/>
                <a:gd name="T78" fmla="*/ 332 w 422"/>
                <a:gd name="T79" fmla="*/ 380 h 478"/>
                <a:gd name="T80" fmla="*/ 330 w 422"/>
                <a:gd name="T81" fmla="*/ 370 h 478"/>
                <a:gd name="T82" fmla="*/ 336 w 422"/>
                <a:gd name="T83" fmla="*/ 358 h 478"/>
                <a:gd name="T84" fmla="*/ 346 w 422"/>
                <a:gd name="T85" fmla="*/ 354 h 478"/>
                <a:gd name="T86" fmla="*/ 356 w 422"/>
                <a:gd name="T87" fmla="*/ 336 h 478"/>
                <a:gd name="T88" fmla="*/ 366 w 422"/>
                <a:gd name="T89" fmla="*/ 344 h 478"/>
                <a:gd name="T90" fmla="*/ 378 w 422"/>
                <a:gd name="T91" fmla="*/ 334 h 478"/>
                <a:gd name="T92" fmla="*/ 408 w 422"/>
                <a:gd name="T93" fmla="*/ 302 h 478"/>
                <a:gd name="T94" fmla="*/ 410 w 422"/>
                <a:gd name="T95" fmla="*/ 288 h 478"/>
                <a:gd name="T96" fmla="*/ 404 w 422"/>
                <a:gd name="T97" fmla="*/ 282 h 478"/>
                <a:gd name="T98" fmla="*/ 410 w 422"/>
                <a:gd name="T99" fmla="*/ 270 h 478"/>
                <a:gd name="T100" fmla="*/ 408 w 422"/>
                <a:gd name="T101" fmla="*/ 264 h 478"/>
                <a:gd name="T102" fmla="*/ 412 w 422"/>
                <a:gd name="T103" fmla="*/ 262 h 478"/>
                <a:gd name="T104" fmla="*/ 412 w 422"/>
                <a:gd name="T105" fmla="*/ 240 h 478"/>
                <a:gd name="T106" fmla="*/ 420 w 422"/>
                <a:gd name="T107" fmla="*/ 210 h 478"/>
                <a:gd name="T108" fmla="*/ 416 w 422"/>
                <a:gd name="T109" fmla="*/ 200 h 478"/>
                <a:gd name="T110" fmla="*/ 418 w 422"/>
                <a:gd name="T111" fmla="*/ 192 h 478"/>
                <a:gd name="T112" fmla="*/ 408 w 422"/>
                <a:gd name="T113" fmla="*/ 176 h 478"/>
                <a:gd name="T114" fmla="*/ 410 w 422"/>
                <a:gd name="T115" fmla="*/ 172 h 478"/>
                <a:gd name="T116" fmla="*/ 422 w 422"/>
                <a:gd name="T117" fmla="*/ 168 h 478"/>
                <a:gd name="T118" fmla="*/ 422 w 422"/>
                <a:gd name="T119" fmla="*/ 168 h 478"/>
                <a:gd name="T120" fmla="*/ 396 w 422"/>
                <a:gd name="T121" fmla="*/ 0 h 478"/>
                <a:gd name="T122" fmla="*/ 372 w 422"/>
                <a:gd name="T123" fmla="*/ 8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22" h="478">
                  <a:moveTo>
                    <a:pt x="372" y="8"/>
                  </a:moveTo>
                  <a:lnTo>
                    <a:pt x="286" y="74"/>
                  </a:lnTo>
                  <a:lnTo>
                    <a:pt x="258" y="76"/>
                  </a:lnTo>
                  <a:lnTo>
                    <a:pt x="228" y="92"/>
                  </a:lnTo>
                  <a:lnTo>
                    <a:pt x="196" y="90"/>
                  </a:lnTo>
                  <a:lnTo>
                    <a:pt x="190" y="86"/>
                  </a:lnTo>
                  <a:lnTo>
                    <a:pt x="178" y="88"/>
                  </a:lnTo>
                  <a:lnTo>
                    <a:pt x="170" y="86"/>
                  </a:lnTo>
                  <a:lnTo>
                    <a:pt x="156" y="76"/>
                  </a:lnTo>
                  <a:lnTo>
                    <a:pt x="130" y="70"/>
                  </a:lnTo>
                  <a:lnTo>
                    <a:pt x="0" y="86"/>
                  </a:lnTo>
                  <a:lnTo>
                    <a:pt x="36" y="416"/>
                  </a:lnTo>
                  <a:lnTo>
                    <a:pt x="44" y="410"/>
                  </a:lnTo>
                  <a:lnTo>
                    <a:pt x="56" y="418"/>
                  </a:lnTo>
                  <a:lnTo>
                    <a:pt x="72" y="412"/>
                  </a:lnTo>
                  <a:lnTo>
                    <a:pt x="86" y="422"/>
                  </a:lnTo>
                  <a:lnTo>
                    <a:pt x="98" y="446"/>
                  </a:lnTo>
                  <a:lnTo>
                    <a:pt x="132" y="448"/>
                  </a:lnTo>
                  <a:lnTo>
                    <a:pt x="146" y="462"/>
                  </a:lnTo>
                  <a:lnTo>
                    <a:pt x="156" y="462"/>
                  </a:lnTo>
                  <a:lnTo>
                    <a:pt x="158" y="456"/>
                  </a:lnTo>
                  <a:lnTo>
                    <a:pt x="168" y="452"/>
                  </a:lnTo>
                  <a:lnTo>
                    <a:pt x="190" y="464"/>
                  </a:lnTo>
                  <a:lnTo>
                    <a:pt x="206" y="458"/>
                  </a:lnTo>
                  <a:lnTo>
                    <a:pt x="216" y="444"/>
                  </a:lnTo>
                  <a:lnTo>
                    <a:pt x="228" y="440"/>
                  </a:lnTo>
                  <a:lnTo>
                    <a:pt x="236" y="460"/>
                  </a:lnTo>
                  <a:lnTo>
                    <a:pt x="250" y="462"/>
                  </a:lnTo>
                  <a:lnTo>
                    <a:pt x="264" y="478"/>
                  </a:lnTo>
                  <a:lnTo>
                    <a:pt x="288" y="470"/>
                  </a:lnTo>
                  <a:lnTo>
                    <a:pt x="290" y="452"/>
                  </a:lnTo>
                  <a:lnTo>
                    <a:pt x="300" y="446"/>
                  </a:lnTo>
                  <a:lnTo>
                    <a:pt x="292" y="426"/>
                  </a:lnTo>
                  <a:lnTo>
                    <a:pt x="306" y="396"/>
                  </a:lnTo>
                  <a:lnTo>
                    <a:pt x="316" y="396"/>
                  </a:lnTo>
                  <a:lnTo>
                    <a:pt x="320" y="410"/>
                  </a:lnTo>
                  <a:lnTo>
                    <a:pt x="328" y="400"/>
                  </a:lnTo>
                  <a:lnTo>
                    <a:pt x="334" y="402"/>
                  </a:lnTo>
                  <a:lnTo>
                    <a:pt x="326" y="384"/>
                  </a:lnTo>
                  <a:lnTo>
                    <a:pt x="332" y="380"/>
                  </a:lnTo>
                  <a:lnTo>
                    <a:pt x="330" y="370"/>
                  </a:lnTo>
                  <a:lnTo>
                    <a:pt x="336" y="358"/>
                  </a:lnTo>
                  <a:lnTo>
                    <a:pt x="346" y="354"/>
                  </a:lnTo>
                  <a:lnTo>
                    <a:pt x="356" y="336"/>
                  </a:lnTo>
                  <a:lnTo>
                    <a:pt x="366" y="344"/>
                  </a:lnTo>
                  <a:lnTo>
                    <a:pt x="378" y="334"/>
                  </a:lnTo>
                  <a:lnTo>
                    <a:pt x="408" y="302"/>
                  </a:lnTo>
                  <a:lnTo>
                    <a:pt x="410" y="288"/>
                  </a:lnTo>
                  <a:lnTo>
                    <a:pt x="404" y="282"/>
                  </a:lnTo>
                  <a:lnTo>
                    <a:pt x="410" y="270"/>
                  </a:lnTo>
                  <a:lnTo>
                    <a:pt x="408" y="264"/>
                  </a:lnTo>
                  <a:lnTo>
                    <a:pt x="412" y="262"/>
                  </a:lnTo>
                  <a:lnTo>
                    <a:pt x="412" y="240"/>
                  </a:lnTo>
                  <a:lnTo>
                    <a:pt x="420" y="210"/>
                  </a:lnTo>
                  <a:lnTo>
                    <a:pt x="416" y="200"/>
                  </a:lnTo>
                  <a:lnTo>
                    <a:pt x="418" y="192"/>
                  </a:lnTo>
                  <a:lnTo>
                    <a:pt x="408" y="176"/>
                  </a:lnTo>
                  <a:lnTo>
                    <a:pt x="410" y="172"/>
                  </a:lnTo>
                  <a:lnTo>
                    <a:pt x="422" y="168"/>
                  </a:lnTo>
                  <a:lnTo>
                    <a:pt x="422" y="168"/>
                  </a:lnTo>
                  <a:lnTo>
                    <a:pt x="396" y="0"/>
                  </a:lnTo>
                  <a:lnTo>
                    <a:pt x="372" y="8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9" name="Freeform 256"/>
            <p:cNvSpPr>
              <a:spLocks/>
            </p:cNvSpPr>
            <p:nvPr/>
          </p:nvSpPr>
          <p:spPr bwMode="auto">
            <a:xfrm>
              <a:off x="4450557" y="4335682"/>
              <a:ext cx="83344" cy="88106"/>
            </a:xfrm>
            <a:custGeom>
              <a:avLst/>
              <a:gdLst>
                <a:gd name="T0" fmla="*/ 16 w 70"/>
                <a:gd name="T1" fmla="*/ 42 h 74"/>
                <a:gd name="T2" fmla="*/ 20 w 70"/>
                <a:gd name="T3" fmla="*/ 42 h 74"/>
                <a:gd name="T4" fmla="*/ 22 w 70"/>
                <a:gd name="T5" fmla="*/ 32 h 74"/>
                <a:gd name="T6" fmla="*/ 40 w 70"/>
                <a:gd name="T7" fmla="*/ 18 h 74"/>
                <a:gd name="T8" fmla="*/ 44 w 70"/>
                <a:gd name="T9" fmla="*/ 18 h 74"/>
                <a:gd name="T10" fmla="*/ 54 w 70"/>
                <a:gd name="T11" fmla="*/ 12 h 74"/>
                <a:gd name="T12" fmla="*/ 60 w 70"/>
                <a:gd name="T13" fmla="*/ 4 h 74"/>
                <a:gd name="T14" fmla="*/ 66 w 70"/>
                <a:gd name="T15" fmla="*/ 0 h 74"/>
                <a:gd name="T16" fmla="*/ 70 w 70"/>
                <a:gd name="T17" fmla="*/ 4 h 74"/>
                <a:gd name="T18" fmla="*/ 68 w 70"/>
                <a:gd name="T19" fmla="*/ 12 h 74"/>
                <a:gd name="T20" fmla="*/ 8 w 70"/>
                <a:gd name="T21" fmla="*/ 74 h 74"/>
                <a:gd name="T22" fmla="*/ 4 w 70"/>
                <a:gd name="T23" fmla="*/ 74 h 74"/>
                <a:gd name="T24" fmla="*/ 0 w 70"/>
                <a:gd name="T25" fmla="*/ 70 h 74"/>
                <a:gd name="T26" fmla="*/ 16 w 70"/>
                <a:gd name="T27" fmla="*/ 46 h 74"/>
                <a:gd name="T28" fmla="*/ 16 w 70"/>
                <a:gd name="T29" fmla="*/ 4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74">
                  <a:moveTo>
                    <a:pt x="16" y="42"/>
                  </a:moveTo>
                  <a:lnTo>
                    <a:pt x="20" y="42"/>
                  </a:lnTo>
                  <a:lnTo>
                    <a:pt x="22" y="32"/>
                  </a:lnTo>
                  <a:lnTo>
                    <a:pt x="40" y="18"/>
                  </a:lnTo>
                  <a:lnTo>
                    <a:pt x="44" y="18"/>
                  </a:lnTo>
                  <a:lnTo>
                    <a:pt x="54" y="12"/>
                  </a:lnTo>
                  <a:lnTo>
                    <a:pt x="60" y="4"/>
                  </a:lnTo>
                  <a:lnTo>
                    <a:pt x="66" y="0"/>
                  </a:lnTo>
                  <a:lnTo>
                    <a:pt x="70" y="4"/>
                  </a:lnTo>
                  <a:lnTo>
                    <a:pt x="68" y="12"/>
                  </a:lnTo>
                  <a:lnTo>
                    <a:pt x="8" y="74"/>
                  </a:lnTo>
                  <a:lnTo>
                    <a:pt x="4" y="74"/>
                  </a:lnTo>
                  <a:lnTo>
                    <a:pt x="0" y="70"/>
                  </a:lnTo>
                  <a:lnTo>
                    <a:pt x="16" y="46"/>
                  </a:lnTo>
                  <a:lnTo>
                    <a:pt x="16" y="42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0" name="Line 358"/>
            <p:cNvSpPr>
              <a:spLocks noChangeShapeType="1"/>
            </p:cNvSpPr>
            <p:nvPr/>
          </p:nvSpPr>
          <p:spPr bwMode="auto">
            <a:xfrm>
              <a:off x="3502820" y="4282103"/>
              <a:ext cx="1191" cy="1191"/>
            </a:xfrm>
            <a:prstGeom prst="line">
              <a:avLst/>
            </a:prstGeom>
            <a:noFill/>
            <a:ln w="12700">
              <a:solidFill>
                <a:srgbClr val="42A6CC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1" name="Line 360"/>
            <p:cNvSpPr>
              <a:spLocks noChangeShapeType="1"/>
            </p:cNvSpPr>
            <p:nvPr/>
          </p:nvSpPr>
          <p:spPr bwMode="auto">
            <a:xfrm>
              <a:off x="3707606" y="4265435"/>
              <a:ext cx="1191" cy="1191"/>
            </a:xfrm>
            <a:prstGeom prst="line">
              <a:avLst/>
            </a:prstGeom>
            <a:noFill/>
            <a:ln w="12700">
              <a:solidFill>
                <a:srgbClr val="42A6CC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2" name="Line 361"/>
            <p:cNvSpPr>
              <a:spLocks noChangeShapeType="1"/>
            </p:cNvSpPr>
            <p:nvPr/>
          </p:nvSpPr>
          <p:spPr bwMode="auto">
            <a:xfrm>
              <a:off x="3502820" y="4282103"/>
              <a:ext cx="1191" cy="1191"/>
            </a:xfrm>
            <a:prstGeom prst="line">
              <a:avLst/>
            </a:prstGeom>
            <a:noFill/>
            <a:ln w="12700">
              <a:solidFill>
                <a:srgbClr val="42A6CC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3" name="Freeform 196"/>
            <p:cNvSpPr>
              <a:spLocks/>
            </p:cNvSpPr>
            <p:nvPr/>
          </p:nvSpPr>
          <p:spPr bwMode="auto">
            <a:xfrm>
              <a:off x="5382817" y="2631897"/>
              <a:ext cx="873919" cy="444104"/>
            </a:xfrm>
            <a:custGeom>
              <a:avLst/>
              <a:gdLst>
                <a:gd name="T0" fmla="*/ 578 w 734"/>
                <a:gd name="T1" fmla="*/ 299 h 373"/>
                <a:gd name="T2" fmla="*/ 638 w 734"/>
                <a:gd name="T3" fmla="*/ 269 h 373"/>
                <a:gd name="T4" fmla="*/ 656 w 734"/>
                <a:gd name="T5" fmla="*/ 249 h 373"/>
                <a:gd name="T6" fmla="*/ 668 w 734"/>
                <a:gd name="T7" fmla="*/ 229 h 373"/>
                <a:gd name="T8" fmla="*/ 734 w 734"/>
                <a:gd name="T9" fmla="*/ 169 h 373"/>
                <a:gd name="T10" fmla="*/ 712 w 734"/>
                <a:gd name="T11" fmla="*/ 159 h 373"/>
                <a:gd name="T12" fmla="*/ 696 w 734"/>
                <a:gd name="T13" fmla="*/ 143 h 373"/>
                <a:gd name="T14" fmla="*/ 678 w 734"/>
                <a:gd name="T15" fmla="*/ 120 h 373"/>
                <a:gd name="T16" fmla="*/ 664 w 734"/>
                <a:gd name="T17" fmla="*/ 88 h 373"/>
                <a:gd name="T18" fmla="*/ 660 w 734"/>
                <a:gd name="T19" fmla="*/ 68 h 373"/>
                <a:gd name="T20" fmla="*/ 632 w 734"/>
                <a:gd name="T21" fmla="*/ 50 h 373"/>
                <a:gd name="T22" fmla="*/ 612 w 734"/>
                <a:gd name="T23" fmla="*/ 34 h 373"/>
                <a:gd name="T24" fmla="*/ 586 w 734"/>
                <a:gd name="T25" fmla="*/ 54 h 373"/>
                <a:gd name="T26" fmla="*/ 554 w 734"/>
                <a:gd name="T27" fmla="*/ 46 h 373"/>
                <a:gd name="T28" fmla="*/ 542 w 734"/>
                <a:gd name="T29" fmla="*/ 52 h 373"/>
                <a:gd name="T30" fmla="*/ 494 w 734"/>
                <a:gd name="T31" fmla="*/ 36 h 373"/>
                <a:gd name="T32" fmla="*/ 468 w 734"/>
                <a:gd name="T33" fmla="*/ 2 h 373"/>
                <a:gd name="T34" fmla="*/ 440 w 734"/>
                <a:gd name="T35" fmla="*/ 0 h 373"/>
                <a:gd name="T36" fmla="*/ 432 w 734"/>
                <a:gd name="T37" fmla="*/ 22 h 373"/>
                <a:gd name="T38" fmla="*/ 438 w 734"/>
                <a:gd name="T39" fmla="*/ 34 h 373"/>
                <a:gd name="T40" fmla="*/ 420 w 734"/>
                <a:gd name="T41" fmla="*/ 48 h 373"/>
                <a:gd name="T42" fmla="*/ 392 w 734"/>
                <a:gd name="T43" fmla="*/ 56 h 373"/>
                <a:gd name="T44" fmla="*/ 380 w 734"/>
                <a:gd name="T45" fmla="*/ 84 h 373"/>
                <a:gd name="T46" fmla="*/ 358 w 734"/>
                <a:gd name="T47" fmla="*/ 116 h 373"/>
                <a:gd name="T48" fmla="*/ 338 w 734"/>
                <a:gd name="T49" fmla="*/ 133 h 373"/>
                <a:gd name="T50" fmla="*/ 326 w 734"/>
                <a:gd name="T51" fmla="*/ 161 h 373"/>
                <a:gd name="T52" fmla="*/ 300 w 734"/>
                <a:gd name="T53" fmla="*/ 141 h 373"/>
                <a:gd name="T54" fmla="*/ 296 w 734"/>
                <a:gd name="T55" fmla="*/ 143 h 373"/>
                <a:gd name="T56" fmla="*/ 286 w 734"/>
                <a:gd name="T57" fmla="*/ 151 h 373"/>
                <a:gd name="T58" fmla="*/ 280 w 734"/>
                <a:gd name="T59" fmla="*/ 169 h 373"/>
                <a:gd name="T60" fmla="*/ 268 w 734"/>
                <a:gd name="T61" fmla="*/ 181 h 373"/>
                <a:gd name="T62" fmla="*/ 256 w 734"/>
                <a:gd name="T63" fmla="*/ 175 h 373"/>
                <a:gd name="T64" fmla="*/ 230 w 734"/>
                <a:gd name="T65" fmla="*/ 177 h 373"/>
                <a:gd name="T66" fmla="*/ 192 w 734"/>
                <a:gd name="T67" fmla="*/ 177 h 373"/>
                <a:gd name="T68" fmla="*/ 172 w 734"/>
                <a:gd name="T69" fmla="*/ 173 h 373"/>
                <a:gd name="T70" fmla="*/ 168 w 734"/>
                <a:gd name="T71" fmla="*/ 193 h 373"/>
                <a:gd name="T72" fmla="*/ 152 w 734"/>
                <a:gd name="T73" fmla="*/ 187 h 373"/>
                <a:gd name="T74" fmla="*/ 140 w 734"/>
                <a:gd name="T75" fmla="*/ 185 h 373"/>
                <a:gd name="T76" fmla="*/ 138 w 734"/>
                <a:gd name="T77" fmla="*/ 201 h 373"/>
                <a:gd name="T78" fmla="*/ 120 w 734"/>
                <a:gd name="T79" fmla="*/ 217 h 373"/>
                <a:gd name="T80" fmla="*/ 90 w 734"/>
                <a:gd name="T81" fmla="*/ 253 h 373"/>
                <a:gd name="T82" fmla="*/ 98 w 734"/>
                <a:gd name="T83" fmla="*/ 285 h 373"/>
                <a:gd name="T84" fmla="*/ 40 w 734"/>
                <a:gd name="T85" fmla="*/ 279 h 373"/>
                <a:gd name="T86" fmla="*/ 30 w 734"/>
                <a:gd name="T87" fmla="*/ 313 h 373"/>
                <a:gd name="T88" fmla="*/ 20 w 734"/>
                <a:gd name="T89" fmla="*/ 363 h 373"/>
                <a:gd name="T90" fmla="*/ 0 w 734"/>
                <a:gd name="T91" fmla="*/ 373 h 373"/>
                <a:gd name="T92" fmla="*/ 136 w 734"/>
                <a:gd name="T93" fmla="*/ 341 h 373"/>
                <a:gd name="T94" fmla="*/ 160 w 734"/>
                <a:gd name="T95" fmla="*/ 345 h 373"/>
                <a:gd name="T96" fmla="*/ 292 w 734"/>
                <a:gd name="T97" fmla="*/ 329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4" h="373">
                  <a:moveTo>
                    <a:pt x="432" y="315"/>
                  </a:moveTo>
                  <a:lnTo>
                    <a:pt x="578" y="299"/>
                  </a:lnTo>
                  <a:lnTo>
                    <a:pt x="632" y="283"/>
                  </a:lnTo>
                  <a:lnTo>
                    <a:pt x="638" y="269"/>
                  </a:lnTo>
                  <a:lnTo>
                    <a:pt x="656" y="261"/>
                  </a:lnTo>
                  <a:lnTo>
                    <a:pt x="656" y="249"/>
                  </a:lnTo>
                  <a:lnTo>
                    <a:pt x="670" y="241"/>
                  </a:lnTo>
                  <a:lnTo>
                    <a:pt x="668" y="229"/>
                  </a:lnTo>
                  <a:lnTo>
                    <a:pt x="734" y="169"/>
                  </a:lnTo>
                  <a:lnTo>
                    <a:pt x="734" y="169"/>
                  </a:lnTo>
                  <a:lnTo>
                    <a:pt x="718" y="167"/>
                  </a:lnTo>
                  <a:lnTo>
                    <a:pt x="712" y="159"/>
                  </a:lnTo>
                  <a:lnTo>
                    <a:pt x="700" y="155"/>
                  </a:lnTo>
                  <a:lnTo>
                    <a:pt x="696" y="143"/>
                  </a:lnTo>
                  <a:lnTo>
                    <a:pt x="678" y="126"/>
                  </a:lnTo>
                  <a:lnTo>
                    <a:pt x="678" y="120"/>
                  </a:lnTo>
                  <a:lnTo>
                    <a:pt x="658" y="100"/>
                  </a:lnTo>
                  <a:lnTo>
                    <a:pt x="664" y="88"/>
                  </a:lnTo>
                  <a:lnTo>
                    <a:pt x="660" y="68"/>
                  </a:lnTo>
                  <a:lnTo>
                    <a:pt x="660" y="68"/>
                  </a:lnTo>
                  <a:lnTo>
                    <a:pt x="646" y="52"/>
                  </a:lnTo>
                  <a:lnTo>
                    <a:pt x="632" y="50"/>
                  </a:lnTo>
                  <a:lnTo>
                    <a:pt x="624" y="30"/>
                  </a:lnTo>
                  <a:lnTo>
                    <a:pt x="612" y="34"/>
                  </a:lnTo>
                  <a:lnTo>
                    <a:pt x="602" y="48"/>
                  </a:lnTo>
                  <a:lnTo>
                    <a:pt x="586" y="54"/>
                  </a:lnTo>
                  <a:lnTo>
                    <a:pt x="564" y="42"/>
                  </a:lnTo>
                  <a:lnTo>
                    <a:pt x="554" y="46"/>
                  </a:lnTo>
                  <a:lnTo>
                    <a:pt x="552" y="52"/>
                  </a:lnTo>
                  <a:lnTo>
                    <a:pt x="542" y="52"/>
                  </a:lnTo>
                  <a:lnTo>
                    <a:pt x="528" y="38"/>
                  </a:lnTo>
                  <a:lnTo>
                    <a:pt x="494" y="36"/>
                  </a:lnTo>
                  <a:lnTo>
                    <a:pt x="482" y="12"/>
                  </a:lnTo>
                  <a:lnTo>
                    <a:pt x="468" y="2"/>
                  </a:lnTo>
                  <a:lnTo>
                    <a:pt x="452" y="8"/>
                  </a:lnTo>
                  <a:lnTo>
                    <a:pt x="440" y="0"/>
                  </a:lnTo>
                  <a:lnTo>
                    <a:pt x="426" y="12"/>
                  </a:lnTo>
                  <a:lnTo>
                    <a:pt x="432" y="22"/>
                  </a:lnTo>
                  <a:lnTo>
                    <a:pt x="428" y="32"/>
                  </a:lnTo>
                  <a:lnTo>
                    <a:pt x="438" y="34"/>
                  </a:lnTo>
                  <a:lnTo>
                    <a:pt x="436" y="46"/>
                  </a:lnTo>
                  <a:lnTo>
                    <a:pt x="420" y="48"/>
                  </a:lnTo>
                  <a:lnTo>
                    <a:pt x="402" y="62"/>
                  </a:lnTo>
                  <a:lnTo>
                    <a:pt x="392" y="56"/>
                  </a:lnTo>
                  <a:lnTo>
                    <a:pt x="376" y="60"/>
                  </a:lnTo>
                  <a:lnTo>
                    <a:pt x="380" y="84"/>
                  </a:lnTo>
                  <a:lnTo>
                    <a:pt x="362" y="96"/>
                  </a:lnTo>
                  <a:lnTo>
                    <a:pt x="358" y="116"/>
                  </a:lnTo>
                  <a:lnTo>
                    <a:pt x="342" y="120"/>
                  </a:lnTo>
                  <a:lnTo>
                    <a:pt x="338" y="133"/>
                  </a:lnTo>
                  <a:lnTo>
                    <a:pt x="336" y="151"/>
                  </a:lnTo>
                  <a:lnTo>
                    <a:pt x="326" y="161"/>
                  </a:lnTo>
                  <a:lnTo>
                    <a:pt x="302" y="151"/>
                  </a:lnTo>
                  <a:lnTo>
                    <a:pt x="300" y="141"/>
                  </a:lnTo>
                  <a:lnTo>
                    <a:pt x="290" y="135"/>
                  </a:lnTo>
                  <a:lnTo>
                    <a:pt x="296" y="143"/>
                  </a:lnTo>
                  <a:lnTo>
                    <a:pt x="282" y="145"/>
                  </a:lnTo>
                  <a:lnTo>
                    <a:pt x="286" y="151"/>
                  </a:lnTo>
                  <a:lnTo>
                    <a:pt x="278" y="157"/>
                  </a:lnTo>
                  <a:lnTo>
                    <a:pt x="280" y="169"/>
                  </a:lnTo>
                  <a:lnTo>
                    <a:pt x="272" y="173"/>
                  </a:lnTo>
                  <a:lnTo>
                    <a:pt x="268" y="181"/>
                  </a:lnTo>
                  <a:lnTo>
                    <a:pt x="266" y="175"/>
                  </a:lnTo>
                  <a:lnTo>
                    <a:pt x="256" y="175"/>
                  </a:lnTo>
                  <a:lnTo>
                    <a:pt x="248" y="165"/>
                  </a:lnTo>
                  <a:lnTo>
                    <a:pt x="230" y="177"/>
                  </a:lnTo>
                  <a:lnTo>
                    <a:pt x="222" y="193"/>
                  </a:lnTo>
                  <a:lnTo>
                    <a:pt x="192" y="177"/>
                  </a:lnTo>
                  <a:lnTo>
                    <a:pt x="176" y="181"/>
                  </a:lnTo>
                  <a:lnTo>
                    <a:pt x="172" y="173"/>
                  </a:lnTo>
                  <a:lnTo>
                    <a:pt x="174" y="189"/>
                  </a:lnTo>
                  <a:lnTo>
                    <a:pt x="168" y="193"/>
                  </a:lnTo>
                  <a:lnTo>
                    <a:pt x="164" y="183"/>
                  </a:lnTo>
                  <a:lnTo>
                    <a:pt x="152" y="187"/>
                  </a:lnTo>
                  <a:lnTo>
                    <a:pt x="144" y="181"/>
                  </a:lnTo>
                  <a:lnTo>
                    <a:pt x="140" y="185"/>
                  </a:lnTo>
                  <a:lnTo>
                    <a:pt x="144" y="195"/>
                  </a:lnTo>
                  <a:lnTo>
                    <a:pt x="138" y="201"/>
                  </a:lnTo>
                  <a:lnTo>
                    <a:pt x="130" y="197"/>
                  </a:lnTo>
                  <a:lnTo>
                    <a:pt x="120" y="217"/>
                  </a:lnTo>
                  <a:lnTo>
                    <a:pt x="128" y="239"/>
                  </a:lnTo>
                  <a:lnTo>
                    <a:pt x="90" y="253"/>
                  </a:lnTo>
                  <a:lnTo>
                    <a:pt x="88" y="267"/>
                  </a:lnTo>
                  <a:lnTo>
                    <a:pt x="98" y="285"/>
                  </a:lnTo>
                  <a:lnTo>
                    <a:pt x="88" y="295"/>
                  </a:lnTo>
                  <a:lnTo>
                    <a:pt x="40" y="279"/>
                  </a:lnTo>
                  <a:lnTo>
                    <a:pt x="24" y="299"/>
                  </a:lnTo>
                  <a:lnTo>
                    <a:pt x="30" y="313"/>
                  </a:lnTo>
                  <a:lnTo>
                    <a:pt x="30" y="337"/>
                  </a:lnTo>
                  <a:lnTo>
                    <a:pt x="20" y="363"/>
                  </a:lnTo>
                  <a:lnTo>
                    <a:pt x="6" y="357"/>
                  </a:lnTo>
                  <a:lnTo>
                    <a:pt x="0" y="373"/>
                  </a:lnTo>
                  <a:lnTo>
                    <a:pt x="142" y="365"/>
                  </a:lnTo>
                  <a:lnTo>
                    <a:pt x="136" y="341"/>
                  </a:lnTo>
                  <a:lnTo>
                    <a:pt x="158" y="341"/>
                  </a:lnTo>
                  <a:lnTo>
                    <a:pt x="160" y="345"/>
                  </a:lnTo>
                  <a:lnTo>
                    <a:pt x="288" y="335"/>
                  </a:lnTo>
                  <a:lnTo>
                    <a:pt x="292" y="329"/>
                  </a:lnTo>
                  <a:lnTo>
                    <a:pt x="432" y="315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4" name="Freeform 237"/>
            <p:cNvSpPr>
              <a:spLocks/>
            </p:cNvSpPr>
            <p:nvPr/>
          </p:nvSpPr>
          <p:spPr bwMode="auto">
            <a:xfrm>
              <a:off x="2452689" y="2050872"/>
              <a:ext cx="678656" cy="844154"/>
            </a:xfrm>
            <a:custGeom>
              <a:avLst/>
              <a:gdLst>
                <a:gd name="T0" fmla="*/ 186 w 570"/>
                <a:gd name="T1" fmla="*/ 10 h 709"/>
                <a:gd name="T2" fmla="*/ 402 w 570"/>
                <a:gd name="T3" fmla="*/ 50 h 709"/>
                <a:gd name="T4" fmla="*/ 382 w 570"/>
                <a:gd name="T5" fmla="*/ 176 h 709"/>
                <a:gd name="T6" fmla="*/ 570 w 570"/>
                <a:gd name="T7" fmla="*/ 206 h 709"/>
                <a:gd name="T8" fmla="*/ 494 w 570"/>
                <a:gd name="T9" fmla="*/ 709 h 709"/>
                <a:gd name="T10" fmla="*/ 74 w 570"/>
                <a:gd name="T11" fmla="*/ 637 h 709"/>
                <a:gd name="T12" fmla="*/ 0 w 570"/>
                <a:gd name="T13" fmla="*/ 621 h 709"/>
                <a:gd name="T14" fmla="*/ 126 w 570"/>
                <a:gd name="T15" fmla="*/ 0 h 709"/>
                <a:gd name="T16" fmla="*/ 186 w 570"/>
                <a:gd name="T17" fmla="*/ 1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709">
                  <a:moveTo>
                    <a:pt x="186" y="10"/>
                  </a:moveTo>
                  <a:lnTo>
                    <a:pt x="402" y="50"/>
                  </a:lnTo>
                  <a:lnTo>
                    <a:pt x="382" y="176"/>
                  </a:lnTo>
                  <a:lnTo>
                    <a:pt x="570" y="206"/>
                  </a:lnTo>
                  <a:lnTo>
                    <a:pt x="494" y="709"/>
                  </a:lnTo>
                  <a:lnTo>
                    <a:pt x="74" y="637"/>
                  </a:lnTo>
                  <a:lnTo>
                    <a:pt x="0" y="621"/>
                  </a:lnTo>
                  <a:lnTo>
                    <a:pt x="126" y="0"/>
                  </a:lnTo>
                  <a:lnTo>
                    <a:pt x="186" y="1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5" name="Freeform 221"/>
            <p:cNvSpPr>
              <a:spLocks/>
            </p:cNvSpPr>
            <p:nvPr/>
          </p:nvSpPr>
          <p:spPr bwMode="auto">
            <a:xfrm>
              <a:off x="2907507" y="1665109"/>
              <a:ext cx="845344" cy="700088"/>
            </a:xfrm>
            <a:custGeom>
              <a:avLst/>
              <a:gdLst>
                <a:gd name="T0" fmla="*/ 630 w 710"/>
                <a:gd name="T1" fmla="*/ 74 h 588"/>
                <a:gd name="T2" fmla="*/ 86 w 710"/>
                <a:gd name="T3" fmla="*/ 0 h 588"/>
                <a:gd name="T4" fmla="*/ 0 w 710"/>
                <a:gd name="T5" fmla="*/ 500 h 588"/>
                <a:gd name="T6" fmla="*/ 188 w 710"/>
                <a:gd name="T7" fmla="*/ 530 h 588"/>
                <a:gd name="T8" fmla="*/ 662 w 710"/>
                <a:gd name="T9" fmla="*/ 588 h 588"/>
                <a:gd name="T10" fmla="*/ 710 w 710"/>
                <a:gd name="T11" fmla="*/ 82 h 588"/>
                <a:gd name="T12" fmla="*/ 630 w 710"/>
                <a:gd name="T13" fmla="*/ 74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0" h="588">
                  <a:moveTo>
                    <a:pt x="630" y="74"/>
                  </a:moveTo>
                  <a:lnTo>
                    <a:pt x="86" y="0"/>
                  </a:lnTo>
                  <a:lnTo>
                    <a:pt x="0" y="500"/>
                  </a:lnTo>
                  <a:lnTo>
                    <a:pt x="188" y="530"/>
                  </a:lnTo>
                  <a:lnTo>
                    <a:pt x="662" y="588"/>
                  </a:lnTo>
                  <a:lnTo>
                    <a:pt x="710" y="82"/>
                  </a:lnTo>
                  <a:lnTo>
                    <a:pt x="630" y="74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6" name="Freeform 208"/>
            <p:cNvSpPr>
              <a:spLocks/>
            </p:cNvSpPr>
            <p:nvPr/>
          </p:nvSpPr>
          <p:spPr bwMode="auto">
            <a:xfrm>
              <a:off x="2583657" y="979310"/>
              <a:ext cx="1226344" cy="783431"/>
            </a:xfrm>
            <a:custGeom>
              <a:avLst/>
              <a:gdLst>
                <a:gd name="T0" fmla="*/ 358 w 1030"/>
                <a:gd name="T1" fmla="*/ 576 h 658"/>
                <a:gd name="T2" fmla="*/ 334 w 1030"/>
                <a:gd name="T3" fmla="*/ 624 h 658"/>
                <a:gd name="T4" fmla="*/ 324 w 1030"/>
                <a:gd name="T5" fmla="*/ 602 h 658"/>
                <a:gd name="T6" fmla="*/ 314 w 1030"/>
                <a:gd name="T7" fmla="*/ 612 h 658"/>
                <a:gd name="T8" fmla="*/ 310 w 1030"/>
                <a:gd name="T9" fmla="*/ 626 h 658"/>
                <a:gd name="T10" fmla="*/ 280 w 1030"/>
                <a:gd name="T11" fmla="*/ 624 h 658"/>
                <a:gd name="T12" fmla="*/ 256 w 1030"/>
                <a:gd name="T13" fmla="*/ 618 h 658"/>
                <a:gd name="T14" fmla="*/ 234 w 1030"/>
                <a:gd name="T15" fmla="*/ 614 h 658"/>
                <a:gd name="T16" fmla="*/ 202 w 1030"/>
                <a:gd name="T17" fmla="*/ 612 h 658"/>
                <a:gd name="T18" fmla="*/ 186 w 1030"/>
                <a:gd name="T19" fmla="*/ 618 h 658"/>
                <a:gd name="T20" fmla="*/ 184 w 1030"/>
                <a:gd name="T21" fmla="*/ 626 h 658"/>
                <a:gd name="T22" fmla="*/ 174 w 1030"/>
                <a:gd name="T23" fmla="*/ 602 h 658"/>
                <a:gd name="T24" fmla="*/ 172 w 1030"/>
                <a:gd name="T25" fmla="*/ 586 h 658"/>
                <a:gd name="T26" fmla="*/ 160 w 1030"/>
                <a:gd name="T27" fmla="*/ 562 h 658"/>
                <a:gd name="T28" fmla="*/ 144 w 1030"/>
                <a:gd name="T29" fmla="*/ 554 h 658"/>
                <a:gd name="T30" fmla="*/ 146 w 1030"/>
                <a:gd name="T31" fmla="*/ 540 h 658"/>
                <a:gd name="T32" fmla="*/ 144 w 1030"/>
                <a:gd name="T33" fmla="*/ 520 h 658"/>
                <a:gd name="T34" fmla="*/ 138 w 1030"/>
                <a:gd name="T35" fmla="*/ 508 h 658"/>
                <a:gd name="T36" fmla="*/ 132 w 1030"/>
                <a:gd name="T37" fmla="*/ 484 h 658"/>
                <a:gd name="T38" fmla="*/ 132 w 1030"/>
                <a:gd name="T39" fmla="*/ 468 h 658"/>
                <a:gd name="T40" fmla="*/ 130 w 1030"/>
                <a:gd name="T41" fmla="*/ 456 h 658"/>
                <a:gd name="T42" fmla="*/ 114 w 1030"/>
                <a:gd name="T43" fmla="*/ 446 h 658"/>
                <a:gd name="T44" fmla="*/ 90 w 1030"/>
                <a:gd name="T45" fmla="*/ 456 h 658"/>
                <a:gd name="T46" fmla="*/ 72 w 1030"/>
                <a:gd name="T47" fmla="*/ 450 h 658"/>
                <a:gd name="T48" fmla="*/ 72 w 1030"/>
                <a:gd name="T49" fmla="*/ 430 h 658"/>
                <a:gd name="T50" fmla="*/ 86 w 1030"/>
                <a:gd name="T51" fmla="*/ 410 h 658"/>
                <a:gd name="T52" fmla="*/ 86 w 1030"/>
                <a:gd name="T53" fmla="*/ 398 h 658"/>
                <a:gd name="T54" fmla="*/ 86 w 1030"/>
                <a:gd name="T55" fmla="*/ 382 h 658"/>
                <a:gd name="T56" fmla="*/ 90 w 1030"/>
                <a:gd name="T57" fmla="*/ 372 h 658"/>
                <a:gd name="T58" fmla="*/ 102 w 1030"/>
                <a:gd name="T59" fmla="*/ 340 h 658"/>
                <a:gd name="T60" fmla="*/ 106 w 1030"/>
                <a:gd name="T61" fmla="*/ 332 h 658"/>
                <a:gd name="T62" fmla="*/ 88 w 1030"/>
                <a:gd name="T63" fmla="*/ 314 h 658"/>
                <a:gd name="T64" fmla="*/ 86 w 1030"/>
                <a:gd name="T65" fmla="*/ 304 h 658"/>
                <a:gd name="T66" fmla="*/ 74 w 1030"/>
                <a:gd name="T67" fmla="*/ 302 h 658"/>
                <a:gd name="T68" fmla="*/ 66 w 1030"/>
                <a:gd name="T69" fmla="*/ 284 h 658"/>
                <a:gd name="T70" fmla="*/ 58 w 1030"/>
                <a:gd name="T71" fmla="*/ 262 h 658"/>
                <a:gd name="T72" fmla="*/ 28 w 1030"/>
                <a:gd name="T73" fmla="*/ 216 h 658"/>
                <a:gd name="T74" fmla="*/ 12 w 1030"/>
                <a:gd name="T75" fmla="*/ 196 h 658"/>
                <a:gd name="T76" fmla="*/ 14 w 1030"/>
                <a:gd name="T77" fmla="*/ 180 h 658"/>
                <a:gd name="T78" fmla="*/ 20 w 1030"/>
                <a:gd name="T79" fmla="*/ 162 h 658"/>
                <a:gd name="T80" fmla="*/ 26 w 1030"/>
                <a:gd name="T81" fmla="*/ 0 h 658"/>
                <a:gd name="T82" fmla="*/ 528 w 1030"/>
                <a:gd name="T83" fmla="*/ 98 h 658"/>
                <a:gd name="T84" fmla="*/ 982 w 1030"/>
                <a:gd name="T85" fmla="*/ 658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30" h="658">
                  <a:moveTo>
                    <a:pt x="902" y="650"/>
                  </a:moveTo>
                  <a:lnTo>
                    <a:pt x="358" y="576"/>
                  </a:lnTo>
                  <a:lnTo>
                    <a:pt x="346" y="638"/>
                  </a:lnTo>
                  <a:lnTo>
                    <a:pt x="334" y="624"/>
                  </a:lnTo>
                  <a:lnTo>
                    <a:pt x="328" y="606"/>
                  </a:lnTo>
                  <a:lnTo>
                    <a:pt x="324" y="602"/>
                  </a:lnTo>
                  <a:lnTo>
                    <a:pt x="314" y="606"/>
                  </a:lnTo>
                  <a:lnTo>
                    <a:pt x="314" y="612"/>
                  </a:lnTo>
                  <a:lnTo>
                    <a:pt x="308" y="618"/>
                  </a:lnTo>
                  <a:lnTo>
                    <a:pt x="310" y="626"/>
                  </a:lnTo>
                  <a:lnTo>
                    <a:pt x="292" y="620"/>
                  </a:lnTo>
                  <a:lnTo>
                    <a:pt x="280" y="624"/>
                  </a:lnTo>
                  <a:lnTo>
                    <a:pt x="274" y="618"/>
                  </a:lnTo>
                  <a:lnTo>
                    <a:pt x="256" y="618"/>
                  </a:lnTo>
                  <a:lnTo>
                    <a:pt x="242" y="610"/>
                  </a:lnTo>
                  <a:lnTo>
                    <a:pt x="234" y="614"/>
                  </a:lnTo>
                  <a:lnTo>
                    <a:pt x="226" y="622"/>
                  </a:lnTo>
                  <a:lnTo>
                    <a:pt x="202" y="612"/>
                  </a:lnTo>
                  <a:lnTo>
                    <a:pt x="194" y="612"/>
                  </a:lnTo>
                  <a:lnTo>
                    <a:pt x="186" y="618"/>
                  </a:lnTo>
                  <a:lnTo>
                    <a:pt x="188" y="624"/>
                  </a:lnTo>
                  <a:lnTo>
                    <a:pt x="184" y="626"/>
                  </a:lnTo>
                  <a:lnTo>
                    <a:pt x="172" y="612"/>
                  </a:lnTo>
                  <a:lnTo>
                    <a:pt x="174" y="602"/>
                  </a:lnTo>
                  <a:lnTo>
                    <a:pt x="168" y="592"/>
                  </a:lnTo>
                  <a:lnTo>
                    <a:pt x="172" y="586"/>
                  </a:lnTo>
                  <a:lnTo>
                    <a:pt x="168" y="570"/>
                  </a:lnTo>
                  <a:lnTo>
                    <a:pt x="160" y="562"/>
                  </a:lnTo>
                  <a:lnTo>
                    <a:pt x="150" y="564"/>
                  </a:lnTo>
                  <a:lnTo>
                    <a:pt x="144" y="554"/>
                  </a:lnTo>
                  <a:lnTo>
                    <a:pt x="140" y="544"/>
                  </a:lnTo>
                  <a:lnTo>
                    <a:pt x="146" y="540"/>
                  </a:lnTo>
                  <a:lnTo>
                    <a:pt x="146" y="534"/>
                  </a:lnTo>
                  <a:lnTo>
                    <a:pt x="144" y="520"/>
                  </a:lnTo>
                  <a:lnTo>
                    <a:pt x="138" y="520"/>
                  </a:lnTo>
                  <a:lnTo>
                    <a:pt x="138" y="508"/>
                  </a:lnTo>
                  <a:lnTo>
                    <a:pt x="130" y="494"/>
                  </a:lnTo>
                  <a:lnTo>
                    <a:pt x="132" y="484"/>
                  </a:lnTo>
                  <a:lnTo>
                    <a:pt x="128" y="478"/>
                  </a:lnTo>
                  <a:lnTo>
                    <a:pt x="132" y="468"/>
                  </a:lnTo>
                  <a:lnTo>
                    <a:pt x="126" y="464"/>
                  </a:lnTo>
                  <a:lnTo>
                    <a:pt x="130" y="456"/>
                  </a:lnTo>
                  <a:lnTo>
                    <a:pt x="116" y="440"/>
                  </a:lnTo>
                  <a:lnTo>
                    <a:pt x="114" y="446"/>
                  </a:lnTo>
                  <a:lnTo>
                    <a:pt x="102" y="454"/>
                  </a:lnTo>
                  <a:lnTo>
                    <a:pt x="90" y="456"/>
                  </a:lnTo>
                  <a:lnTo>
                    <a:pt x="82" y="462"/>
                  </a:lnTo>
                  <a:lnTo>
                    <a:pt x="72" y="450"/>
                  </a:lnTo>
                  <a:lnTo>
                    <a:pt x="64" y="446"/>
                  </a:lnTo>
                  <a:lnTo>
                    <a:pt x="72" y="430"/>
                  </a:lnTo>
                  <a:lnTo>
                    <a:pt x="68" y="420"/>
                  </a:lnTo>
                  <a:lnTo>
                    <a:pt x="86" y="410"/>
                  </a:lnTo>
                  <a:lnTo>
                    <a:pt x="84" y="404"/>
                  </a:lnTo>
                  <a:lnTo>
                    <a:pt x="86" y="398"/>
                  </a:lnTo>
                  <a:lnTo>
                    <a:pt x="80" y="394"/>
                  </a:lnTo>
                  <a:lnTo>
                    <a:pt x="86" y="382"/>
                  </a:lnTo>
                  <a:lnTo>
                    <a:pt x="82" y="374"/>
                  </a:lnTo>
                  <a:lnTo>
                    <a:pt x="90" y="372"/>
                  </a:lnTo>
                  <a:lnTo>
                    <a:pt x="90" y="362"/>
                  </a:lnTo>
                  <a:lnTo>
                    <a:pt x="102" y="340"/>
                  </a:lnTo>
                  <a:lnTo>
                    <a:pt x="100" y="334"/>
                  </a:lnTo>
                  <a:lnTo>
                    <a:pt x="106" y="332"/>
                  </a:lnTo>
                  <a:lnTo>
                    <a:pt x="110" y="316"/>
                  </a:lnTo>
                  <a:lnTo>
                    <a:pt x="88" y="314"/>
                  </a:lnTo>
                  <a:lnTo>
                    <a:pt x="84" y="308"/>
                  </a:lnTo>
                  <a:lnTo>
                    <a:pt x="86" y="304"/>
                  </a:lnTo>
                  <a:lnTo>
                    <a:pt x="84" y="298"/>
                  </a:lnTo>
                  <a:lnTo>
                    <a:pt x="74" y="302"/>
                  </a:lnTo>
                  <a:lnTo>
                    <a:pt x="76" y="294"/>
                  </a:lnTo>
                  <a:lnTo>
                    <a:pt x="66" y="284"/>
                  </a:lnTo>
                  <a:lnTo>
                    <a:pt x="66" y="272"/>
                  </a:lnTo>
                  <a:lnTo>
                    <a:pt x="58" y="262"/>
                  </a:lnTo>
                  <a:lnTo>
                    <a:pt x="42" y="224"/>
                  </a:lnTo>
                  <a:lnTo>
                    <a:pt x="28" y="216"/>
                  </a:lnTo>
                  <a:lnTo>
                    <a:pt x="22" y="204"/>
                  </a:lnTo>
                  <a:lnTo>
                    <a:pt x="12" y="196"/>
                  </a:lnTo>
                  <a:lnTo>
                    <a:pt x="20" y="190"/>
                  </a:lnTo>
                  <a:lnTo>
                    <a:pt x="14" y="180"/>
                  </a:lnTo>
                  <a:lnTo>
                    <a:pt x="20" y="174"/>
                  </a:lnTo>
                  <a:lnTo>
                    <a:pt x="20" y="162"/>
                  </a:lnTo>
                  <a:lnTo>
                    <a:pt x="0" y="120"/>
                  </a:lnTo>
                  <a:lnTo>
                    <a:pt x="26" y="0"/>
                  </a:lnTo>
                  <a:lnTo>
                    <a:pt x="190" y="36"/>
                  </a:lnTo>
                  <a:lnTo>
                    <a:pt x="528" y="98"/>
                  </a:lnTo>
                  <a:lnTo>
                    <a:pt x="1030" y="162"/>
                  </a:lnTo>
                  <a:lnTo>
                    <a:pt x="982" y="658"/>
                  </a:lnTo>
                  <a:lnTo>
                    <a:pt x="902" y="65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cxnSp>
          <p:nvCxnSpPr>
            <p:cNvPr id="77" name="Straight Connector 76"/>
            <p:cNvCxnSpPr>
              <a:endCxn id="75" idx="4"/>
            </p:cNvCxnSpPr>
            <p:nvPr/>
          </p:nvCxnSpPr>
          <p:spPr>
            <a:xfrm flipH="1">
              <a:off x="3695700" y="1172191"/>
              <a:ext cx="114300" cy="119300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Freeform 217"/>
            <p:cNvSpPr>
              <a:spLocks/>
            </p:cNvSpPr>
            <p:nvPr/>
          </p:nvSpPr>
          <p:spPr bwMode="auto">
            <a:xfrm>
              <a:off x="6070999" y="2479498"/>
              <a:ext cx="931069" cy="508397"/>
            </a:xfrm>
            <a:custGeom>
              <a:avLst/>
              <a:gdLst>
                <a:gd name="T0" fmla="*/ 202 w 782"/>
                <a:gd name="T1" fmla="*/ 401 h 427"/>
                <a:gd name="T2" fmla="*/ 54 w 782"/>
                <a:gd name="T3" fmla="*/ 411 h 427"/>
                <a:gd name="T4" fmla="*/ 78 w 782"/>
                <a:gd name="T5" fmla="*/ 389 h 427"/>
                <a:gd name="T6" fmla="*/ 92 w 782"/>
                <a:gd name="T7" fmla="*/ 369 h 427"/>
                <a:gd name="T8" fmla="*/ 156 w 782"/>
                <a:gd name="T9" fmla="*/ 297 h 427"/>
                <a:gd name="T10" fmla="*/ 160 w 782"/>
                <a:gd name="T11" fmla="*/ 299 h 427"/>
                <a:gd name="T12" fmla="*/ 162 w 782"/>
                <a:gd name="T13" fmla="*/ 309 h 427"/>
                <a:gd name="T14" fmla="*/ 174 w 782"/>
                <a:gd name="T15" fmla="*/ 325 h 427"/>
                <a:gd name="T16" fmla="*/ 216 w 782"/>
                <a:gd name="T17" fmla="*/ 321 h 427"/>
                <a:gd name="T18" fmla="*/ 236 w 782"/>
                <a:gd name="T19" fmla="*/ 323 h 427"/>
                <a:gd name="T20" fmla="*/ 270 w 782"/>
                <a:gd name="T21" fmla="*/ 305 h 427"/>
                <a:gd name="T22" fmla="*/ 268 w 782"/>
                <a:gd name="T23" fmla="*/ 295 h 427"/>
                <a:gd name="T24" fmla="*/ 300 w 782"/>
                <a:gd name="T25" fmla="*/ 285 h 427"/>
                <a:gd name="T26" fmla="*/ 324 w 782"/>
                <a:gd name="T27" fmla="*/ 273 h 427"/>
                <a:gd name="T28" fmla="*/ 328 w 782"/>
                <a:gd name="T29" fmla="*/ 259 h 427"/>
                <a:gd name="T30" fmla="*/ 342 w 782"/>
                <a:gd name="T31" fmla="*/ 208 h 427"/>
                <a:gd name="T32" fmla="*/ 356 w 782"/>
                <a:gd name="T33" fmla="*/ 174 h 427"/>
                <a:gd name="T34" fmla="*/ 362 w 782"/>
                <a:gd name="T35" fmla="*/ 152 h 427"/>
                <a:gd name="T36" fmla="*/ 374 w 782"/>
                <a:gd name="T37" fmla="*/ 132 h 427"/>
                <a:gd name="T38" fmla="*/ 402 w 782"/>
                <a:gd name="T39" fmla="*/ 146 h 427"/>
                <a:gd name="T40" fmla="*/ 436 w 782"/>
                <a:gd name="T41" fmla="*/ 94 h 427"/>
                <a:gd name="T42" fmla="*/ 448 w 782"/>
                <a:gd name="T43" fmla="*/ 74 h 427"/>
                <a:gd name="T44" fmla="*/ 470 w 782"/>
                <a:gd name="T45" fmla="*/ 40 h 427"/>
                <a:gd name="T46" fmla="*/ 526 w 782"/>
                <a:gd name="T47" fmla="*/ 30 h 427"/>
                <a:gd name="T48" fmla="*/ 550 w 782"/>
                <a:gd name="T49" fmla="*/ 6 h 427"/>
                <a:gd name="T50" fmla="*/ 558 w 782"/>
                <a:gd name="T51" fmla="*/ 26 h 427"/>
                <a:gd name="T52" fmla="*/ 584 w 782"/>
                <a:gd name="T53" fmla="*/ 34 h 427"/>
                <a:gd name="T54" fmla="*/ 600 w 782"/>
                <a:gd name="T55" fmla="*/ 44 h 427"/>
                <a:gd name="T56" fmla="*/ 606 w 782"/>
                <a:gd name="T57" fmla="*/ 46 h 427"/>
                <a:gd name="T58" fmla="*/ 614 w 782"/>
                <a:gd name="T59" fmla="*/ 68 h 427"/>
                <a:gd name="T60" fmla="*/ 606 w 782"/>
                <a:gd name="T61" fmla="*/ 86 h 427"/>
                <a:gd name="T62" fmla="*/ 596 w 782"/>
                <a:gd name="T63" fmla="*/ 104 h 427"/>
                <a:gd name="T64" fmla="*/ 602 w 782"/>
                <a:gd name="T65" fmla="*/ 114 h 427"/>
                <a:gd name="T66" fmla="*/ 654 w 782"/>
                <a:gd name="T67" fmla="*/ 136 h 427"/>
                <a:gd name="T68" fmla="*/ 708 w 782"/>
                <a:gd name="T69" fmla="*/ 154 h 427"/>
                <a:gd name="T70" fmla="*/ 712 w 782"/>
                <a:gd name="T71" fmla="*/ 188 h 427"/>
                <a:gd name="T72" fmla="*/ 710 w 782"/>
                <a:gd name="T73" fmla="*/ 208 h 427"/>
                <a:gd name="T74" fmla="*/ 730 w 782"/>
                <a:gd name="T75" fmla="*/ 226 h 427"/>
                <a:gd name="T76" fmla="*/ 716 w 782"/>
                <a:gd name="T77" fmla="*/ 232 h 427"/>
                <a:gd name="T78" fmla="*/ 724 w 782"/>
                <a:gd name="T79" fmla="*/ 248 h 427"/>
                <a:gd name="T80" fmla="*/ 738 w 782"/>
                <a:gd name="T81" fmla="*/ 258 h 427"/>
                <a:gd name="T82" fmla="*/ 712 w 782"/>
                <a:gd name="T83" fmla="*/ 267 h 427"/>
                <a:gd name="T84" fmla="*/ 724 w 782"/>
                <a:gd name="T85" fmla="*/ 281 h 427"/>
                <a:gd name="T86" fmla="*/ 738 w 782"/>
                <a:gd name="T87" fmla="*/ 277 h 427"/>
                <a:gd name="T88" fmla="*/ 774 w 782"/>
                <a:gd name="T89" fmla="*/ 277 h 427"/>
                <a:gd name="T90" fmla="*/ 704 w 782"/>
                <a:gd name="T91" fmla="*/ 31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82" h="427">
                  <a:moveTo>
                    <a:pt x="704" y="317"/>
                  </a:moveTo>
                  <a:lnTo>
                    <a:pt x="202" y="401"/>
                  </a:lnTo>
                  <a:lnTo>
                    <a:pt x="0" y="427"/>
                  </a:lnTo>
                  <a:lnTo>
                    <a:pt x="54" y="411"/>
                  </a:lnTo>
                  <a:lnTo>
                    <a:pt x="60" y="397"/>
                  </a:lnTo>
                  <a:lnTo>
                    <a:pt x="78" y="389"/>
                  </a:lnTo>
                  <a:lnTo>
                    <a:pt x="78" y="377"/>
                  </a:lnTo>
                  <a:lnTo>
                    <a:pt x="92" y="369"/>
                  </a:lnTo>
                  <a:lnTo>
                    <a:pt x="90" y="357"/>
                  </a:lnTo>
                  <a:lnTo>
                    <a:pt x="156" y="297"/>
                  </a:lnTo>
                  <a:lnTo>
                    <a:pt x="156" y="297"/>
                  </a:lnTo>
                  <a:lnTo>
                    <a:pt x="160" y="299"/>
                  </a:lnTo>
                  <a:lnTo>
                    <a:pt x="156" y="305"/>
                  </a:lnTo>
                  <a:lnTo>
                    <a:pt x="162" y="309"/>
                  </a:lnTo>
                  <a:lnTo>
                    <a:pt x="164" y="317"/>
                  </a:lnTo>
                  <a:lnTo>
                    <a:pt x="174" y="325"/>
                  </a:lnTo>
                  <a:lnTo>
                    <a:pt x="196" y="333"/>
                  </a:lnTo>
                  <a:lnTo>
                    <a:pt x="216" y="321"/>
                  </a:lnTo>
                  <a:lnTo>
                    <a:pt x="220" y="313"/>
                  </a:lnTo>
                  <a:lnTo>
                    <a:pt x="236" y="323"/>
                  </a:lnTo>
                  <a:lnTo>
                    <a:pt x="266" y="309"/>
                  </a:lnTo>
                  <a:lnTo>
                    <a:pt x="270" y="305"/>
                  </a:lnTo>
                  <a:lnTo>
                    <a:pt x="266" y="299"/>
                  </a:lnTo>
                  <a:lnTo>
                    <a:pt x="268" y="295"/>
                  </a:lnTo>
                  <a:lnTo>
                    <a:pt x="280" y="299"/>
                  </a:lnTo>
                  <a:lnTo>
                    <a:pt x="300" y="285"/>
                  </a:lnTo>
                  <a:lnTo>
                    <a:pt x="308" y="289"/>
                  </a:lnTo>
                  <a:lnTo>
                    <a:pt x="324" y="273"/>
                  </a:lnTo>
                  <a:lnTo>
                    <a:pt x="320" y="269"/>
                  </a:lnTo>
                  <a:lnTo>
                    <a:pt x="328" y="259"/>
                  </a:lnTo>
                  <a:lnTo>
                    <a:pt x="320" y="254"/>
                  </a:lnTo>
                  <a:lnTo>
                    <a:pt x="342" y="208"/>
                  </a:lnTo>
                  <a:lnTo>
                    <a:pt x="346" y="188"/>
                  </a:lnTo>
                  <a:lnTo>
                    <a:pt x="356" y="174"/>
                  </a:lnTo>
                  <a:lnTo>
                    <a:pt x="354" y="168"/>
                  </a:lnTo>
                  <a:lnTo>
                    <a:pt x="362" y="152"/>
                  </a:lnTo>
                  <a:lnTo>
                    <a:pt x="364" y="130"/>
                  </a:lnTo>
                  <a:lnTo>
                    <a:pt x="374" y="132"/>
                  </a:lnTo>
                  <a:lnTo>
                    <a:pt x="380" y="142"/>
                  </a:lnTo>
                  <a:lnTo>
                    <a:pt x="402" y="146"/>
                  </a:lnTo>
                  <a:lnTo>
                    <a:pt x="422" y="88"/>
                  </a:lnTo>
                  <a:lnTo>
                    <a:pt x="436" y="94"/>
                  </a:lnTo>
                  <a:lnTo>
                    <a:pt x="444" y="72"/>
                  </a:lnTo>
                  <a:lnTo>
                    <a:pt x="448" y="74"/>
                  </a:lnTo>
                  <a:lnTo>
                    <a:pt x="456" y="66"/>
                  </a:lnTo>
                  <a:lnTo>
                    <a:pt x="470" y="40"/>
                  </a:lnTo>
                  <a:lnTo>
                    <a:pt x="472" y="0"/>
                  </a:lnTo>
                  <a:lnTo>
                    <a:pt x="526" y="30"/>
                  </a:lnTo>
                  <a:lnTo>
                    <a:pt x="532" y="6"/>
                  </a:lnTo>
                  <a:lnTo>
                    <a:pt x="550" y="6"/>
                  </a:lnTo>
                  <a:lnTo>
                    <a:pt x="562" y="14"/>
                  </a:lnTo>
                  <a:lnTo>
                    <a:pt x="558" y="26"/>
                  </a:lnTo>
                  <a:lnTo>
                    <a:pt x="566" y="32"/>
                  </a:lnTo>
                  <a:lnTo>
                    <a:pt x="584" y="34"/>
                  </a:lnTo>
                  <a:lnTo>
                    <a:pt x="590" y="40"/>
                  </a:lnTo>
                  <a:lnTo>
                    <a:pt x="600" y="44"/>
                  </a:lnTo>
                  <a:lnTo>
                    <a:pt x="606" y="46"/>
                  </a:lnTo>
                  <a:lnTo>
                    <a:pt x="606" y="46"/>
                  </a:lnTo>
                  <a:lnTo>
                    <a:pt x="610" y="52"/>
                  </a:lnTo>
                  <a:lnTo>
                    <a:pt x="614" y="68"/>
                  </a:lnTo>
                  <a:lnTo>
                    <a:pt x="606" y="72"/>
                  </a:lnTo>
                  <a:lnTo>
                    <a:pt x="606" y="86"/>
                  </a:lnTo>
                  <a:lnTo>
                    <a:pt x="600" y="92"/>
                  </a:lnTo>
                  <a:lnTo>
                    <a:pt x="596" y="104"/>
                  </a:lnTo>
                  <a:lnTo>
                    <a:pt x="598" y="108"/>
                  </a:lnTo>
                  <a:lnTo>
                    <a:pt x="602" y="114"/>
                  </a:lnTo>
                  <a:lnTo>
                    <a:pt x="634" y="122"/>
                  </a:lnTo>
                  <a:lnTo>
                    <a:pt x="654" y="136"/>
                  </a:lnTo>
                  <a:lnTo>
                    <a:pt x="698" y="144"/>
                  </a:lnTo>
                  <a:lnTo>
                    <a:pt x="708" y="154"/>
                  </a:lnTo>
                  <a:lnTo>
                    <a:pt x="712" y="166"/>
                  </a:lnTo>
                  <a:lnTo>
                    <a:pt x="712" y="188"/>
                  </a:lnTo>
                  <a:lnTo>
                    <a:pt x="706" y="192"/>
                  </a:lnTo>
                  <a:lnTo>
                    <a:pt x="710" y="208"/>
                  </a:lnTo>
                  <a:lnTo>
                    <a:pt x="720" y="212"/>
                  </a:lnTo>
                  <a:lnTo>
                    <a:pt x="730" y="226"/>
                  </a:lnTo>
                  <a:lnTo>
                    <a:pt x="724" y="226"/>
                  </a:lnTo>
                  <a:lnTo>
                    <a:pt x="716" y="232"/>
                  </a:lnTo>
                  <a:lnTo>
                    <a:pt x="718" y="238"/>
                  </a:lnTo>
                  <a:lnTo>
                    <a:pt x="724" y="248"/>
                  </a:lnTo>
                  <a:lnTo>
                    <a:pt x="734" y="252"/>
                  </a:lnTo>
                  <a:lnTo>
                    <a:pt x="738" y="258"/>
                  </a:lnTo>
                  <a:lnTo>
                    <a:pt x="730" y="263"/>
                  </a:lnTo>
                  <a:lnTo>
                    <a:pt x="712" y="267"/>
                  </a:lnTo>
                  <a:lnTo>
                    <a:pt x="712" y="277"/>
                  </a:lnTo>
                  <a:lnTo>
                    <a:pt x="724" y="281"/>
                  </a:lnTo>
                  <a:lnTo>
                    <a:pt x="734" y="283"/>
                  </a:lnTo>
                  <a:lnTo>
                    <a:pt x="738" y="277"/>
                  </a:lnTo>
                  <a:lnTo>
                    <a:pt x="742" y="275"/>
                  </a:lnTo>
                  <a:lnTo>
                    <a:pt x="774" y="277"/>
                  </a:lnTo>
                  <a:lnTo>
                    <a:pt x="782" y="301"/>
                  </a:lnTo>
                  <a:lnTo>
                    <a:pt x="704" y="317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5081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382000" y="4781550"/>
            <a:ext cx="381000" cy="226317"/>
          </a:xfrm>
        </p:spPr>
        <p:txBody>
          <a:bodyPr/>
          <a:lstStyle/>
          <a:p>
            <a:pPr>
              <a:defRPr/>
            </a:pPr>
            <a:fld id="{F3BCCA5C-75CA-43B8-B936-D2315E2FCCF6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110" name="Title 6"/>
          <p:cNvSpPr txBox="1">
            <a:spLocks/>
          </p:cNvSpPr>
          <p:nvPr/>
        </p:nvSpPr>
        <p:spPr bwMode="auto">
          <a:xfrm>
            <a:off x="457200" y="553135"/>
            <a:ext cx="8229600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 kern="1200">
                <a:solidFill>
                  <a:schemeClr val="accent1"/>
                </a:solidFill>
                <a:latin typeface="+mj-lt"/>
                <a:ea typeface="ＭＳ Ｐゴシック" charset="-128"/>
                <a:cs typeface="ＭＳ Ｐゴシック" pitchFamily="-111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A94F"/>
                </a:solidFill>
                <a:latin typeface="Arial" charset="0"/>
                <a:ea typeface="ＭＳ Ｐゴシック" charset="-128"/>
                <a:cs typeface="ＭＳ Ｐゴシック" pitchFamily="-11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A94F"/>
                </a:solidFill>
                <a:latin typeface="Arial" charset="0"/>
                <a:ea typeface="ＭＳ Ｐゴシック" charset="-128"/>
                <a:cs typeface="ＭＳ Ｐゴシック" pitchFamily="-11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A94F"/>
                </a:solidFill>
                <a:latin typeface="Arial" charset="0"/>
                <a:ea typeface="ＭＳ Ｐゴシック" charset="-128"/>
                <a:cs typeface="ＭＳ Ｐゴシック" pitchFamily="-11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A94F"/>
                </a:solidFill>
                <a:latin typeface="Arial" charset="0"/>
                <a:ea typeface="ＭＳ Ｐゴシック" charset="-128"/>
                <a:cs typeface="ＭＳ Ｐゴシック" pitchFamily="-11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A94F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A94F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A94F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A94F"/>
                </a:solidFill>
                <a:latin typeface="Arial" charset="0"/>
              </a:defRPr>
            </a:lvl9pPr>
          </a:lstStyle>
          <a:p>
            <a:r>
              <a:rPr lang="en-US" dirty="0" smtClean="0"/>
              <a:t>7,000+ Customers: Some of the World’s </a:t>
            </a:r>
            <a:br>
              <a:rPr lang="en-US" dirty="0" smtClean="0"/>
            </a:br>
            <a:r>
              <a:rPr lang="en-US" dirty="0" smtClean="0"/>
              <a:t>Best-Known Brands</a:t>
            </a:r>
            <a:endParaRPr lang="en-US" dirty="0"/>
          </a:p>
        </p:txBody>
      </p:sp>
      <p:grpSp>
        <p:nvGrpSpPr>
          <p:cNvPr id="226" name="Group 225"/>
          <p:cNvGrpSpPr/>
          <p:nvPr/>
        </p:nvGrpSpPr>
        <p:grpSpPr>
          <a:xfrm>
            <a:off x="358446" y="1370400"/>
            <a:ext cx="8427108" cy="3411150"/>
            <a:chOff x="367642" y="1269947"/>
            <a:chExt cx="8427108" cy="3411150"/>
          </a:xfrm>
        </p:grpSpPr>
        <p:pic>
          <p:nvPicPr>
            <p:cNvPr id="227" name="Picture 226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8466" y="1651625"/>
              <a:ext cx="289200" cy="1507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8" name="Picture 227"/>
            <p:cNvPicPr>
              <a:picLocks noChangeAspect="1" noChangeArrowheads="1"/>
            </p:cNvPicPr>
            <p:nvPr/>
          </p:nvPicPr>
          <p:blipFill>
            <a:blip r:embed="rId3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109" y="3492500"/>
              <a:ext cx="314857" cy="1834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9" name="Picture 228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6293" y="1660092"/>
              <a:ext cx="189010" cy="2404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0" name="Picture 229"/>
            <p:cNvPicPr>
              <a:picLocks noChangeAspect="1" noChangeArrowheads="1"/>
            </p:cNvPicPr>
            <p:nvPr/>
          </p:nvPicPr>
          <p:blipFill>
            <a:blip r:embed="rId5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878" y="2948610"/>
              <a:ext cx="467466" cy="123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1" name="Picture 230"/>
            <p:cNvPicPr>
              <a:picLocks noChangeAspect="1" noChangeArrowheads="1"/>
            </p:cNvPicPr>
            <p:nvPr/>
          </p:nvPicPr>
          <p:blipFill>
            <a:blip r:embed="rId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659" y="4200319"/>
              <a:ext cx="482727" cy="1253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2" name="Picture 231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959" y="2008570"/>
              <a:ext cx="336483" cy="205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3" name="Picture 232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9073" y="3479800"/>
              <a:ext cx="268546" cy="2252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4" name="Picture 233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200" y="2342249"/>
              <a:ext cx="235165" cy="235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5" name="chart"/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432" y="2321447"/>
              <a:ext cx="275844" cy="2722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6" name="Picture 235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868" y="3843866"/>
              <a:ext cx="371782" cy="23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7" name="Picture 236"/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4761" y="3191933"/>
              <a:ext cx="409109" cy="1620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8" name="Picture 237"/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4119" y="4429074"/>
              <a:ext cx="395437" cy="150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9" name="Picture 238"/>
            <p:cNvPicPr>
              <a:picLocks noChangeAspect="1" noChangeArrowheads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4032" y="2223455"/>
              <a:ext cx="588541" cy="1371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0" name="Picture 239"/>
            <p:cNvPicPr>
              <a:picLocks noChangeAspect="1" noChangeArrowheads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0427" y="3043893"/>
              <a:ext cx="593529" cy="132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1" name="Picture 240"/>
            <p:cNvPicPr>
              <a:picLocks noChangeAspect="1" noChangeArrowheads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8175" y="2551194"/>
              <a:ext cx="408940" cy="2844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" name="Picture 241"/>
            <p:cNvPicPr>
              <a:picLocks noChangeAspect="1" noChangeArrowheads="1"/>
            </p:cNvPicPr>
            <p:nvPr/>
          </p:nvPicPr>
          <p:blipFill rotWithShape="1"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394296" y="4229948"/>
              <a:ext cx="556703" cy="360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3" name="Picture 242"/>
            <p:cNvPicPr>
              <a:picLocks noChangeAspect="1" noChangeArrowheads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216" y="1641936"/>
              <a:ext cx="318516" cy="166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4" name="Picture 243"/>
            <p:cNvPicPr>
              <a:picLocks noChangeAspect="1" noChangeArrowheads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34459" y="1874133"/>
              <a:ext cx="377952" cy="201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5" name="Picture 244"/>
            <p:cNvPicPr>
              <a:picLocks noChangeAspect="1" noChangeArrowheads="1"/>
            </p:cNvPicPr>
            <p:nvPr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32636" y="2182114"/>
              <a:ext cx="177800" cy="2524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6" name="Picture 245"/>
            <p:cNvPicPr>
              <a:picLocks noChangeAspect="1" noChangeArrowheads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35334" y="2547841"/>
              <a:ext cx="200914" cy="2080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7" name="Picture 246"/>
            <p:cNvPicPr>
              <a:picLocks noChangeAspect="1" noChangeArrowheads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03933" y="3236253"/>
              <a:ext cx="271328" cy="271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8" name="Picture 247"/>
            <p:cNvPicPr>
              <a:picLocks noChangeAspect="1" noChangeArrowheads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25191" y="2879555"/>
              <a:ext cx="202664" cy="248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9" name="Picture 248"/>
            <p:cNvPicPr>
              <a:picLocks noChangeAspect="1" noChangeArrowheads="1"/>
            </p:cNvPicPr>
            <p:nvPr/>
          </p:nvPicPr>
          <p:blipFill>
            <a:blip r:embed="rId24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78577" y="4396552"/>
              <a:ext cx="451231" cy="1813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50" name="Picture 249" descr="C:\Users\Phyllis\Desktop\logo-parknbark.gif"/>
            <p:cNvPicPr>
              <a:picLocks noChangeAspect="1" noChangeArrowheads="1"/>
            </p:cNvPicPr>
            <p:nvPr/>
          </p:nvPicPr>
          <p:blipFill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01926" y="4019618"/>
              <a:ext cx="415290" cy="247650"/>
            </a:xfrm>
            <a:prstGeom prst="rect">
              <a:avLst/>
            </a:prstGeom>
            <a:noFill/>
          </p:spPr>
        </p:pic>
        <p:pic>
          <p:nvPicPr>
            <p:cNvPr id="251" name="Picture 250"/>
            <p:cNvPicPr>
              <a:picLocks noChangeAspect="1" noChangeArrowheads="1"/>
            </p:cNvPicPr>
            <p:nvPr/>
          </p:nvPicPr>
          <p:blipFill>
            <a:blip r:embed="rId2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3363" y="3607540"/>
              <a:ext cx="171893" cy="2685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52" name="Picture 251"/>
            <p:cNvPicPr>
              <a:picLocks noChangeAspect="1" noChangeArrowheads="1"/>
            </p:cNvPicPr>
            <p:nvPr/>
          </p:nvPicPr>
          <p:blipFill>
            <a:blip r:embed="rId2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22570" y="3232403"/>
              <a:ext cx="437989" cy="2074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53" name="Picture 252"/>
            <p:cNvPicPr>
              <a:picLocks noChangeAspect="1" noChangeArrowheads="1"/>
            </p:cNvPicPr>
            <p:nvPr/>
          </p:nvPicPr>
          <p:blipFill>
            <a:blip r:embed="rId28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18144" y="2056616"/>
              <a:ext cx="456120" cy="1814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54" name="Picture 253"/>
            <p:cNvPicPr>
              <a:picLocks noChangeAspect="1" noChangeArrowheads="1"/>
            </p:cNvPicPr>
            <p:nvPr/>
          </p:nvPicPr>
          <p:blipFill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60442" y="2313728"/>
              <a:ext cx="395520" cy="2991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55" name="Picture 254"/>
            <p:cNvPicPr>
              <a:picLocks noChangeAspect="1" noChangeArrowheads="1"/>
            </p:cNvPicPr>
            <p:nvPr/>
          </p:nvPicPr>
          <p:blipFill>
            <a:blip r:embed="rId3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56213" y="1634171"/>
              <a:ext cx="423067" cy="3526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56" name="Picture 255" descr="https://encrypted-tbn0.google.com/images?q=tbn:ANd9GcQ9YPgL45bcJKu-NvCt3jrtbhzrHnc23AW-UOzW4EMI57SaEjhYOQ"/>
            <p:cNvPicPr>
              <a:picLocks noChangeAspect="1" noChangeArrowheads="1"/>
            </p:cNvPicPr>
            <p:nvPr/>
          </p:nvPicPr>
          <p:blipFill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58380" y="2741085"/>
              <a:ext cx="398272" cy="384048"/>
            </a:xfrm>
            <a:prstGeom prst="rect">
              <a:avLst/>
            </a:prstGeom>
            <a:noFill/>
          </p:spPr>
        </p:pic>
        <p:pic>
          <p:nvPicPr>
            <p:cNvPr id="257" name="Picture 256"/>
            <p:cNvPicPr>
              <a:picLocks noChangeAspect="1" noChangeArrowheads="1"/>
            </p:cNvPicPr>
            <p:nvPr/>
          </p:nvPicPr>
          <p:blipFill>
            <a:blip r:embed="rId3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10428" y="2468623"/>
              <a:ext cx="485360" cy="194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58" name="Picture 257"/>
            <p:cNvPicPr>
              <a:picLocks noChangeAspect="1" noChangeArrowheads="1"/>
            </p:cNvPicPr>
            <p:nvPr/>
          </p:nvPicPr>
          <p:blipFill>
            <a:blip r:embed="rId3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03508" y="3751923"/>
              <a:ext cx="323850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59" name="Picture 258"/>
            <p:cNvPicPr>
              <a:picLocks noChangeAspect="1" noChangeArrowheads="1"/>
            </p:cNvPicPr>
            <p:nvPr/>
          </p:nvPicPr>
          <p:blipFill>
            <a:blip r:embed="rId3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6860" y="2760836"/>
              <a:ext cx="400507" cy="2084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0" name="Picture 259"/>
            <p:cNvPicPr>
              <a:picLocks noChangeAspect="1" noChangeArrowheads="1"/>
            </p:cNvPicPr>
            <p:nvPr/>
          </p:nvPicPr>
          <p:blipFill>
            <a:blip r:embed="rId3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46166" y="1663211"/>
              <a:ext cx="400394" cy="2333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1" name="Picture 260"/>
            <p:cNvPicPr>
              <a:picLocks noChangeAspect="1" noChangeArrowheads="1"/>
            </p:cNvPicPr>
            <p:nvPr/>
          </p:nvPicPr>
          <p:blipFill>
            <a:blip r:embed="rId3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8565" y="2208554"/>
              <a:ext cx="430177" cy="1875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2" name="Picture 261"/>
            <p:cNvPicPr>
              <a:picLocks noChangeAspect="1" noChangeArrowheads="1"/>
            </p:cNvPicPr>
            <p:nvPr/>
          </p:nvPicPr>
          <p:blipFill>
            <a:blip r:embed="rId3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6793" y="1957971"/>
              <a:ext cx="541877" cy="2179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3" name="Picture 262"/>
            <p:cNvPicPr>
              <a:picLocks noChangeAspect="1" noChangeArrowheads="1"/>
            </p:cNvPicPr>
            <p:nvPr/>
          </p:nvPicPr>
          <p:blipFill>
            <a:blip r:embed="rId3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35547" y="3014000"/>
              <a:ext cx="468884" cy="2641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4" name="Picture 263"/>
            <p:cNvPicPr>
              <a:picLocks noChangeAspect="1" noChangeArrowheads="1"/>
            </p:cNvPicPr>
            <p:nvPr/>
          </p:nvPicPr>
          <p:blipFill>
            <a:blip r:embed="rId3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3069" y="3992059"/>
              <a:ext cx="263023" cy="1735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65" name="Rectangle 264"/>
            <p:cNvSpPr/>
            <p:nvPr/>
          </p:nvSpPr>
          <p:spPr>
            <a:xfrm flipV="1">
              <a:off x="1220407" y="1525566"/>
              <a:ext cx="43219" cy="3043377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66" name="Picture 265" descr="Connect-by-Hertz-Logo2.jpg"/>
            <p:cNvPicPr>
              <a:picLocks noChangeAspect="1"/>
            </p:cNvPicPr>
            <p:nvPr/>
          </p:nvPicPr>
          <p:blipFill>
            <a:blip r:embed="rId4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64371" y="1644962"/>
              <a:ext cx="576072" cy="1810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7" name="Picture 266" descr="https://encrypted-tbn0.google.com/images?q=tbn:ANd9GcTzQvyqAuCgF6GgDTboWRxEwEGGOg4vw0q2Fr2ThmEwxcCl1piQJA"/>
            <p:cNvPicPr>
              <a:picLocks noChangeAspect="1" noChangeArrowheads="1"/>
            </p:cNvPicPr>
            <p:nvPr/>
          </p:nvPicPr>
          <p:blipFill>
            <a:blip r:embed="rId4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13121" y="1923851"/>
              <a:ext cx="495059" cy="536314"/>
            </a:xfrm>
            <a:prstGeom prst="rect">
              <a:avLst/>
            </a:prstGeom>
            <a:noFill/>
          </p:spPr>
        </p:pic>
        <p:sp>
          <p:nvSpPr>
            <p:cNvPr id="268" name="Rectangle 267"/>
            <p:cNvSpPr/>
            <p:nvPr/>
          </p:nvSpPr>
          <p:spPr>
            <a:xfrm flipV="1">
              <a:off x="2081817" y="1525566"/>
              <a:ext cx="43219" cy="3043377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9" name="Rectangle 268"/>
            <p:cNvSpPr/>
            <p:nvPr/>
          </p:nvSpPr>
          <p:spPr>
            <a:xfrm flipV="1">
              <a:off x="2907893" y="1525566"/>
              <a:ext cx="43219" cy="3043377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0" name="Rectangle 269"/>
            <p:cNvSpPr/>
            <p:nvPr/>
          </p:nvSpPr>
          <p:spPr>
            <a:xfrm flipV="1">
              <a:off x="3769302" y="1525566"/>
              <a:ext cx="43219" cy="3043377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1" name="Rectangle 270"/>
            <p:cNvSpPr/>
            <p:nvPr/>
          </p:nvSpPr>
          <p:spPr>
            <a:xfrm flipV="1">
              <a:off x="4636675" y="1525566"/>
              <a:ext cx="43219" cy="3043377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2" name="Rectangle 271"/>
            <p:cNvSpPr/>
            <p:nvPr/>
          </p:nvSpPr>
          <p:spPr>
            <a:xfrm flipV="1">
              <a:off x="5498084" y="1525566"/>
              <a:ext cx="43219" cy="3043377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3" name="Rectangle 272"/>
            <p:cNvSpPr/>
            <p:nvPr/>
          </p:nvSpPr>
          <p:spPr>
            <a:xfrm flipV="1">
              <a:off x="6365456" y="1525566"/>
              <a:ext cx="43219" cy="3043377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74" name="Picture 273"/>
            <p:cNvPicPr>
              <a:picLocks noChangeAspect="1" noChangeArrowheads="1"/>
            </p:cNvPicPr>
            <p:nvPr/>
          </p:nvPicPr>
          <p:blipFill>
            <a:blip r:embed="rId4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8837"/>
            <a:stretch>
              <a:fillRect/>
            </a:stretch>
          </p:blipFill>
          <p:spPr bwMode="auto">
            <a:xfrm>
              <a:off x="6545706" y="1601416"/>
              <a:ext cx="461010" cy="278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5" name="Picture 274"/>
            <p:cNvPicPr>
              <a:picLocks noChangeAspect="1" noChangeArrowheads="1"/>
            </p:cNvPicPr>
            <p:nvPr/>
          </p:nvPicPr>
          <p:blipFill>
            <a:blip r:embed="rId4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599094">
              <a:off x="6597965" y="4182923"/>
              <a:ext cx="411754" cy="4159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6" name="Picture 275"/>
            <p:cNvPicPr>
              <a:picLocks noChangeAspect="1" noChangeArrowheads="1"/>
            </p:cNvPicPr>
            <p:nvPr/>
          </p:nvPicPr>
          <p:blipFill>
            <a:blip r:embed="rId44" cstate="email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8401" y="2319744"/>
              <a:ext cx="408051" cy="4114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7" name="Picture 276"/>
            <p:cNvPicPr>
              <a:picLocks noChangeAspect="1" noChangeArrowheads="1"/>
            </p:cNvPicPr>
            <p:nvPr/>
          </p:nvPicPr>
          <p:blipFill>
            <a:blip r:embed="rId4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2447" y="2767338"/>
              <a:ext cx="426720" cy="426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8" name="Picture 277"/>
            <p:cNvPicPr>
              <a:picLocks noChangeAspect="1" noChangeArrowheads="1"/>
            </p:cNvPicPr>
            <p:nvPr/>
          </p:nvPicPr>
          <p:blipFill>
            <a:blip r:embed="rId4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5575" y="1942847"/>
              <a:ext cx="390657" cy="3306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9" name="Picture 2" descr="http://www.alphasigmaphi.org/files/Web%20Documents/Alpha%20Sigma%20Phi/Images/logo-stanford-university.161115751_std.gif?g=vyTKqLGfQyLU"/>
            <p:cNvPicPr>
              <a:picLocks noChangeAspect="1" noChangeArrowheads="1"/>
            </p:cNvPicPr>
            <p:nvPr/>
          </p:nvPicPr>
          <p:blipFill>
            <a:blip r:embed="rId4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12963" y="1662451"/>
              <a:ext cx="228600" cy="348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0" name="Picture 4" descr="http://upload.wikimedia.org/wikipedia/en/8/80/Ucla_logo.png"/>
            <p:cNvPicPr>
              <a:picLocks noChangeAspect="1" noChangeArrowheads="1"/>
            </p:cNvPicPr>
            <p:nvPr/>
          </p:nvPicPr>
          <p:blipFill>
            <a:blip r:embed="rId4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52680" y="3028639"/>
              <a:ext cx="381000" cy="381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1" name="Picture 10" descr="http://growing.lpch.org/wp-content/uploads/2012/10/JMH-logo-lg.png"/>
            <p:cNvPicPr>
              <a:picLocks noChangeAspect="1" noChangeArrowheads="1"/>
            </p:cNvPicPr>
            <p:nvPr/>
          </p:nvPicPr>
          <p:blipFill>
            <a:blip r:embed="rId4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78476" y="4324273"/>
              <a:ext cx="593529" cy="3568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2" name="Picture 12" descr="https://ufo.epi-ucsf.org/ufostudy/images/UCSF%20teal%20logo.jpg"/>
            <p:cNvPicPr>
              <a:picLocks noChangeAspect="1" noChangeArrowheads="1"/>
            </p:cNvPicPr>
            <p:nvPr/>
          </p:nvPicPr>
          <p:blipFill>
            <a:blip r:embed="rId5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34348" y="1560206"/>
              <a:ext cx="613833" cy="3858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3" name="Picture 16" descr="http://nyocommercialobserver.files.wordpress.com/2013/08/default_c5c57921777b5a4872843856.jpg"/>
            <p:cNvPicPr>
              <a:picLocks noChangeAspect="1" noChangeArrowheads="1"/>
            </p:cNvPicPr>
            <p:nvPr/>
          </p:nvPicPr>
          <p:blipFill>
            <a:blip r:embed="rId5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2826" y="1609308"/>
              <a:ext cx="408488" cy="408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4" name="Picture 2" descr="http://www.allianceforbusinessleadership.org/wp-content/uploads/2013/04/Boston-City-Logo-for-post.png"/>
            <p:cNvPicPr>
              <a:picLocks noChangeAspect="1" noChangeArrowheads="1"/>
            </p:cNvPicPr>
            <p:nvPr/>
          </p:nvPicPr>
          <p:blipFill rotWithShape="1">
            <a:blip r:embed="rId5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559328" y="3262037"/>
              <a:ext cx="458016" cy="4527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5" name="Picture 4" descr="http://washington.org/sites/washington.org/master/files/logo_trans.png"/>
            <p:cNvPicPr>
              <a:picLocks noChangeAspect="1" noChangeArrowheads="1"/>
            </p:cNvPicPr>
            <p:nvPr/>
          </p:nvPicPr>
          <p:blipFill>
            <a:blip r:embed="rId5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41384" y="3739427"/>
              <a:ext cx="488290" cy="370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6" name="Picture 8" descr="http://thethievingbear.com/wp-content/uploads/2012/02/New-Stop-Shop-Logo-old-764896_JPG.jpg"/>
            <p:cNvPicPr>
              <a:picLocks noChangeAspect="1" noChangeArrowheads="1"/>
            </p:cNvPicPr>
            <p:nvPr/>
          </p:nvPicPr>
          <p:blipFill>
            <a:blip r:embed="rId5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1162" y="3733412"/>
              <a:ext cx="513477" cy="2803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7" name="Picture 10" descr="http://www.pycomall.com/images/P1/Harvard_University_Logo_Vector_Format.jpg"/>
            <p:cNvPicPr>
              <a:picLocks noChangeAspect="1" noChangeArrowheads="1"/>
            </p:cNvPicPr>
            <p:nvPr/>
          </p:nvPicPr>
          <p:blipFill rotWithShape="1">
            <a:blip r:embed="rId5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451267" y="2105687"/>
              <a:ext cx="367510" cy="3874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8" name="Picture 12" descr="http://web.mit.edu/nnf/people/clasen/mit_crest_logo.jpg"/>
            <p:cNvPicPr>
              <a:picLocks noChangeAspect="1" noChangeArrowheads="1"/>
            </p:cNvPicPr>
            <p:nvPr/>
          </p:nvPicPr>
          <p:blipFill>
            <a:blip r:embed="rId5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46953" y="2561771"/>
              <a:ext cx="397140" cy="397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9" name="Picture 288" descr="http://www.best-masters.com/logo_ecole/546.jpg"/>
            <p:cNvPicPr>
              <a:picLocks noChangeAspect="1" noChangeArrowheads="1"/>
            </p:cNvPicPr>
            <p:nvPr/>
          </p:nvPicPr>
          <p:blipFill rotWithShape="1">
            <a:blip r:embed="rId5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422913" y="3723114"/>
              <a:ext cx="442237" cy="4344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0" name="Picture 16" descr="http://upload.wikimedia.org/wikipedia/commons/3/36/Logo_boston_univ.gif"/>
            <p:cNvPicPr>
              <a:picLocks noChangeAspect="1" noChangeArrowheads="1"/>
            </p:cNvPicPr>
            <p:nvPr/>
          </p:nvPicPr>
          <p:blipFill>
            <a:blip r:embed="rId5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12729" y="1976956"/>
              <a:ext cx="419100" cy="3324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1" name="Picture 18" descr="https://fbcdn-profile-a.akamaihd.net/hprofile-ak-ash3/c39.30.373.373/s160x160/537218_605652192795633_1164786766_n.jpg"/>
            <p:cNvPicPr>
              <a:picLocks noChangeAspect="1" noChangeArrowheads="1"/>
            </p:cNvPicPr>
            <p:nvPr/>
          </p:nvPicPr>
          <p:blipFill>
            <a:blip r:embed="rId5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26224" y="3547024"/>
              <a:ext cx="426720" cy="4267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2" name="Picture 20" descr="https://backpainproject.org/images/BWHLogo.jpg"/>
            <p:cNvPicPr>
              <a:picLocks noChangeAspect="1" noChangeArrowheads="1"/>
            </p:cNvPicPr>
            <p:nvPr/>
          </p:nvPicPr>
          <p:blipFill>
            <a:blip r:embed="rId6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98201" y="2435026"/>
              <a:ext cx="538249" cy="2443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3" name="Picture 22" descr="http://newsroom.altabatessummit.org/files/2013/04/SH_ABSMC_190.png"/>
            <p:cNvPicPr>
              <a:picLocks noChangeAspect="1" noChangeArrowheads="1"/>
            </p:cNvPicPr>
            <p:nvPr/>
          </p:nvPicPr>
          <p:blipFill>
            <a:blip r:embed="rId6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76671" y="4105761"/>
              <a:ext cx="533400" cy="210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4" name="Picture 24" descr="http://chelseamich.com/wp-content/uploads/2012/06/CCH-logo_large.jpg"/>
            <p:cNvPicPr>
              <a:picLocks noChangeAspect="1" noChangeArrowheads="1"/>
            </p:cNvPicPr>
            <p:nvPr/>
          </p:nvPicPr>
          <p:blipFill>
            <a:blip r:embed="rId6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73186" y="3317363"/>
              <a:ext cx="599348" cy="1192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5" name="Picture 26" descr="https://pbs.twimg.com/profile_images/1115228215/SwedishEdmonds.gif"/>
            <p:cNvPicPr>
              <a:picLocks noChangeAspect="1" noChangeArrowheads="1"/>
            </p:cNvPicPr>
            <p:nvPr/>
          </p:nvPicPr>
          <p:blipFill>
            <a:blip r:embed="rId6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23255" y="2755245"/>
              <a:ext cx="388620" cy="3886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6" name="Picture 28" descr="http://asklogo.com/images/R/rutgers%20university%20logo.jpg"/>
            <p:cNvPicPr>
              <a:picLocks noChangeAspect="1" noChangeArrowheads="1"/>
            </p:cNvPicPr>
            <p:nvPr/>
          </p:nvPicPr>
          <p:blipFill rotWithShape="1">
            <a:blip r:embed="rId6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339813" y="3455472"/>
              <a:ext cx="610861" cy="2035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7" name="Picture 30" descr="https://creativeservices.gwu.edu/sites/creativeservices.gwu.edu/files/image/gw_txt_4cp_pos_0.png"/>
            <p:cNvPicPr>
              <a:picLocks noChangeAspect="1" noChangeArrowheads="1"/>
            </p:cNvPicPr>
            <p:nvPr/>
          </p:nvPicPr>
          <p:blipFill>
            <a:blip r:embed="rId6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9002" y="4268327"/>
              <a:ext cx="364405" cy="2782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8" name="Picture 32" descr="http://www.aimbe.org/wp-content/uploads/2013/07/Hyatt-Regency-Logo-Vertical.jpg"/>
            <p:cNvPicPr>
              <a:picLocks noChangeAspect="1" noChangeArrowheads="1"/>
            </p:cNvPicPr>
            <p:nvPr/>
          </p:nvPicPr>
          <p:blipFill rotWithShape="1">
            <a:blip r:embed="rId6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164034" y="3539040"/>
              <a:ext cx="357737" cy="3577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9" name="Picture 34" descr="http://assets.hospitalityonline.com/brands/employers/logos/000/213/855/logo.gif?1329184392"/>
            <p:cNvPicPr>
              <a:picLocks noChangeAspect="1" noChangeArrowheads="1"/>
            </p:cNvPicPr>
            <p:nvPr/>
          </p:nvPicPr>
          <p:blipFill>
            <a:blip r:embed="rId6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9947" y="4048613"/>
              <a:ext cx="539115" cy="97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0" name="Picture 36" descr="http://api.ning.com/files/SzDm6j9dfSDQV7kOrGhWKSBPG9LbF*AxmYLTZhjL6JG-t-td3xWZP3EF3WtOkWU72ICBTXQ2j2gGznhLIMsBNN*7vsLchrV1/best_western_logo.gif"/>
            <p:cNvPicPr>
              <a:picLocks noChangeAspect="1" noChangeArrowheads="1"/>
            </p:cNvPicPr>
            <p:nvPr/>
          </p:nvPicPr>
          <p:blipFill>
            <a:blip r:embed="rId6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3771" y="4293150"/>
              <a:ext cx="316243" cy="3162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1" name="Picture 44" descr="http://findlogo.net/images/N/national%20grid%20logo.jpg"/>
            <p:cNvPicPr>
              <a:picLocks noChangeAspect="1" noChangeArrowheads="1"/>
            </p:cNvPicPr>
            <p:nvPr/>
          </p:nvPicPr>
          <p:blipFill rotWithShape="1">
            <a:blip r:embed="rId6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801204" y="4216322"/>
              <a:ext cx="566596" cy="1943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2" name="Picture 46" descr="http://www.renewablechoice.com/assets/images/blog_images/Duke-Energy-logo-2013.gif"/>
            <p:cNvPicPr>
              <a:picLocks noChangeAspect="1" noChangeArrowheads="1"/>
            </p:cNvPicPr>
            <p:nvPr/>
          </p:nvPicPr>
          <p:blipFill rotWithShape="1">
            <a:blip r:embed="rId7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7469" b="26285"/>
            <a:stretch/>
          </p:blipFill>
          <p:spPr bwMode="auto">
            <a:xfrm>
              <a:off x="4862756" y="4433175"/>
              <a:ext cx="457200" cy="211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3" name="Picture 48" descr="http://www.moadsf.org/blog/wp-content/uploads/2013/09/PGE.jpg"/>
            <p:cNvPicPr>
              <a:picLocks noChangeAspect="1" noChangeArrowheads="1"/>
            </p:cNvPicPr>
            <p:nvPr/>
          </p:nvPicPr>
          <p:blipFill>
            <a:blip r:embed="rId7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32349" y="3360340"/>
              <a:ext cx="469900" cy="3123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4" name="Picture 54" descr="http://www.sonomacity.org/Uploads/3942.jpg"/>
            <p:cNvPicPr>
              <a:picLocks noChangeAspect="1" noChangeArrowheads="1"/>
            </p:cNvPicPr>
            <p:nvPr/>
          </p:nvPicPr>
          <p:blipFill>
            <a:blip r:embed="rId72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41133" y="2519092"/>
              <a:ext cx="450115" cy="450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5" name="Picture 56" descr="Vancouver"/>
            <p:cNvPicPr>
              <a:picLocks noChangeAspect="1" noChangeArrowheads="1"/>
            </p:cNvPicPr>
            <p:nvPr/>
          </p:nvPicPr>
          <p:blipFill>
            <a:blip r:embed="rId7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29729" y="3018366"/>
              <a:ext cx="653596" cy="3006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6" name="Picture 305"/>
            <p:cNvPicPr>
              <a:picLocks noChangeAspect="1" noChangeArrowheads="1"/>
            </p:cNvPicPr>
            <p:nvPr/>
          </p:nvPicPr>
          <p:blipFill>
            <a:blip r:embed="rId7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12438" y="3464625"/>
              <a:ext cx="481920" cy="3285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7" name="Picture 306"/>
            <p:cNvPicPr>
              <a:picLocks noChangeAspect="1" noChangeArrowheads="1"/>
            </p:cNvPicPr>
            <p:nvPr/>
          </p:nvPicPr>
          <p:blipFill>
            <a:blip r:embed="rId7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16256" y="3995006"/>
              <a:ext cx="485463" cy="2527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8" name="Picture 307"/>
            <p:cNvPicPr>
              <a:picLocks noChangeAspect="1" noChangeArrowheads="1"/>
            </p:cNvPicPr>
            <p:nvPr/>
          </p:nvPicPr>
          <p:blipFill>
            <a:blip r:embed="rId7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45099" y="4439570"/>
              <a:ext cx="441786" cy="176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9" name="Picture 308" descr="Screen Shot 2015-11-09 at 4.11.14 PM.png"/>
            <p:cNvPicPr>
              <a:picLocks noChangeAspect="1"/>
            </p:cNvPicPr>
            <p:nvPr/>
          </p:nvPicPr>
          <p:blipFill>
            <a:blip r:embed="rId7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29267" y="3338894"/>
              <a:ext cx="675390" cy="208644"/>
            </a:xfrm>
            <a:prstGeom prst="rect">
              <a:avLst/>
            </a:prstGeom>
          </p:spPr>
        </p:pic>
        <p:sp>
          <p:nvSpPr>
            <p:cNvPr id="310" name="Rectangle 309"/>
            <p:cNvSpPr/>
            <p:nvPr/>
          </p:nvSpPr>
          <p:spPr>
            <a:xfrm flipV="1">
              <a:off x="7216356" y="1525566"/>
              <a:ext cx="43219" cy="3043377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1" name="Rectangle 310"/>
            <p:cNvSpPr/>
            <p:nvPr/>
          </p:nvSpPr>
          <p:spPr>
            <a:xfrm flipV="1">
              <a:off x="8016456" y="1525566"/>
              <a:ext cx="43219" cy="3043377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312" name="Picture 311"/>
            <p:cNvPicPr>
              <a:picLocks noChangeAspect="1" noChangeArrowheads="1"/>
            </p:cNvPicPr>
            <p:nvPr/>
          </p:nvPicPr>
          <p:blipFill>
            <a:blip r:embed="rId7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1385" y="2699669"/>
              <a:ext cx="441786" cy="176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13" name="Rectangle 312"/>
            <p:cNvSpPr/>
            <p:nvPr/>
          </p:nvSpPr>
          <p:spPr>
            <a:xfrm>
              <a:off x="8053915" y="1269947"/>
              <a:ext cx="740835" cy="254022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/>
                <a:t>Healthcare</a:t>
              </a:r>
              <a:endParaRPr lang="en-US" sz="800" b="1" dirty="0"/>
            </a:p>
          </p:txBody>
        </p:sp>
        <p:sp>
          <p:nvSpPr>
            <p:cNvPr id="314" name="Rectangle 313"/>
            <p:cNvSpPr/>
            <p:nvPr/>
          </p:nvSpPr>
          <p:spPr>
            <a:xfrm>
              <a:off x="7253814" y="1269947"/>
              <a:ext cx="757767" cy="254022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/>
                <a:t>Education</a:t>
              </a:r>
              <a:endParaRPr lang="en-US" sz="800" b="1" dirty="0"/>
            </a:p>
          </p:txBody>
        </p:sp>
        <p:sp>
          <p:nvSpPr>
            <p:cNvPr id="315" name="Rectangle 314"/>
            <p:cNvSpPr/>
            <p:nvPr/>
          </p:nvSpPr>
          <p:spPr>
            <a:xfrm>
              <a:off x="6407148" y="1269947"/>
              <a:ext cx="806451" cy="254022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b="1" dirty="0" smtClean="0"/>
                <a:t>Municipalities</a:t>
              </a:r>
              <a:endParaRPr lang="en-US" sz="700" b="1" dirty="0"/>
            </a:p>
          </p:txBody>
        </p:sp>
        <p:sp>
          <p:nvSpPr>
            <p:cNvPr id="316" name="Rectangle 315"/>
            <p:cNvSpPr/>
            <p:nvPr/>
          </p:nvSpPr>
          <p:spPr>
            <a:xfrm>
              <a:off x="5539315" y="1269948"/>
              <a:ext cx="825500" cy="254022"/>
            </a:xfrm>
            <a:prstGeom prst="rect">
              <a:avLst/>
            </a:prstGeom>
            <a:solidFill>
              <a:srgbClr val="660033"/>
            </a:solidFill>
            <a:ln>
              <a:noFill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/>
                <a:t>Fleet</a:t>
              </a:r>
              <a:endParaRPr lang="en-US" sz="800" b="1" dirty="0"/>
            </a:p>
          </p:txBody>
        </p:sp>
        <p:sp>
          <p:nvSpPr>
            <p:cNvPr id="317" name="Rectangle 316"/>
            <p:cNvSpPr/>
            <p:nvPr/>
          </p:nvSpPr>
          <p:spPr>
            <a:xfrm>
              <a:off x="4679948" y="1269948"/>
              <a:ext cx="812799" cy="25402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/>
                <a:t>Energy</a:t>
              </a:r>
              <a:endParaRPr lang="en-US" sz="800" b="1" dirty="0"/>
            </a:p>
          </p:txBody>
        </p:sp>
        <p:sp>
          <p:nvSpPr>
            <p:cNvPr id="318" name="Rectangle 317"/>
            <p:cNvSpPr/>
            <p:nvPr/>
          </p:nvSpPr>
          <p:spPr>
            <a:xfrm>
              <a:off x="3812113" y="1269948"/>
              <a:ext cx="821268" cy="254022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/>
                <a:t>Multi-family</a:t>
              </a:r>
              <a:endParaRPr lang="en-US" sz="800" b="1" dirty="0"/>
            </a:p>
          </p:txBody>
        </p:sp>
        <p:sp>
          <p:nvSpPr>
            <p:cNvPr id="319" name="Rectangle 318"/>
            <p:cNvSpPr/>
            <p:nvPr/>
          </p:nvSpPr>
          <p:spPr>
            <a:xfrm>
              <a:off x="2944281" y="1269948"/>
              <a:ext cx="825500" cy="254022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/>
                <a:t>Hospitality</a:t>
              </a:r>
              <a:endParaRPr lang="en-US" sz="800" b="1" dirty="0"/>
            </a:p>
          </p:txBody>
        </p:sp>
        <p:sp>
          <p:nvSpPr>
            <p:cNvPr id="320" name="Rectangle 319"/>
            <p:cNvSpPr/>
            <p:nvPr/>
          </p:nvSpPr>
          <p:spPr>
            <a:xfrm>
              <a:off x="2125134" y="1269948"/>
              <a:ext cx="778933" cy="254022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/>
                <a:t>Parking</a:t>
              </a:r>
              <a:endParaRPr lang="en-US" sz="800" b="1" dirty="0"/>
            </a:p>
          </p:txBody>
        </p:sp>
        <p:sp>
          <p:nvSpPr>
            <p:cNvPr id="321" name="Rectangle 320"/>
            <p:cNvSpPr/>
            <p:nvPr/>
          </p:nvSpPr>
          <p:spPr>
            <a:xfrm>
              <a:off x="1270001" y="1270001"/>
              <a:ext cx="812799" cy="253999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/>
                <a:t>Retail</a:t>
              </a:r>
              <a:endParaRPr lang="en-US" sz="800" b="1" dirty="0"/>
            </a:p>
          </p:txBody>
        </p:sp>
        <p:sp>
          <p:nvSpPr>
            <p:cNvPr id="322" name="Rectangle 321"/>
            <p:cNvSpPr/>
            <p:nvPr/>
          </p:nvSpPr>
          <p:spPr>
            <a:xfrm>
              <a:off x="367642" y="1269948"/>
              <a:ext cx="851558" cy="254022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/>
                <a:t>Workplace</a:t>
              </a:r>
              <a:endParaRPr lang="en-US" sz="800" b="1" dirty="0"/>
            </a:p>
          </p:txBody>
        </p:sp>
        <p:pic>
          <p:nvPicPr>
            <p:cNvPr id="323" name="Picture 322"/>
            <p:cNvPicPr>
              <a:picLocks noChangeAspect="1" noChangeArrowheads="1"/>
            </p:cNvPicPr>
            <p:nvPr/>
          </p:nvPicPr>
          <p:blipFill>
            <a:blip r:embed="rId7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63175" y="4411565"/>
              <a:ext cx="841823" cy="1683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4" name="Picture 323"/>
            <p:cNvPicPr>
              <a:picLocks noChangeAspect="1" noChangeArrowheads="1"/>
            </p:cNvPicPr>
            <p:nvPr/>
          </p:nvPicPr>
          <p:blipFill>
            <a:blip r:embed="rId79" cstate="email">
              <a:clrChange>
                <a:clrFrom>
                  <a:srgbClr val="FDFEFD"/>
                </a:clrFrom>
                <a:clrTo>
                  <a:srgbClr val="FDFEF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6812"/>
            <a:stretch>
              <a:fillRect/>
            </a:stretch>
          </p:blipFill>
          <p:spPr bwMode="auto">
            <a:xfrm>
              <a:off x="3851944" y="1641415"/>
              <a:ext cx="736550" cy="1690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5" name="Picture 38" descr="http://www.najars.com/wp-content/uploads/Avalon-Apartments-Logo.jpg"/>
            <p:cNvPicPr>
              <a:picLocks noChangeAspect="1" noChangeArrowheads="1"/>
            </p:cNvPicPr>
            <p:nvPr/>
          </p:nvPicPr>
          <p:blipFill rotWithShape="1">
            <a:blip r:embed="rId8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925053" y="2105687"/>
              <a:ext cx="609600" cy="5901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6" name="Picture 60" descr="UDR"/>
            <p:cNvPicPr>
              <a:picLocks noChangeAspect="1" noChangeArrowheads="1"/>
            </p:cNvPicPr>
            <p:nvPr/>
          </p:nvPicPr>
          <p:blipFill>
            <a:blip r:embed="rId8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63568" y="2790214"/>
              <a:ext cx="510907" cy="5838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7" name="Picture 326"/>
            <p:cNvPicPr>
              <a:picLocks noChangeAspect="1"/>
            </p:cNvPicPr>
            <p:nvPr/>
          </p:nvPicPr>
          <p:blipFill>
            <a:blip r:embed="rId8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74797" y="1870898"/>
              <a:ext cx="650899" cy="321110"/>
            </a:xfrm>
            <a:prstGeom prst="rect">
              <a:avLst/>
            </a:prstGeom>
          </p:spPr>
        </p:pic>
        <p:pic>
          <p:nvPicPr>
            <p:cNvPr id="328" name="Picture 327"/>
            <p:cNvPicPr>
              <a:picLocks noChangeAspect="1"/>
            </p:cNvPicPr>
            <p:nvPr/>
          </p:nvPicPr>
          <p:blipFill rotWithShape="1">
            <a:blip r:embed="rId8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3676"/>
            <a:stretch/>
          </p:blipFill>
          <p:spPr>
            <a:xfrm>
              <a:off x="3836578" y="3274694"/>
              <a:ext cx="766175" cy="361555"/>
            </a:xfrm>
            <a:prstGeom prst="rect">
              <a:avLst/>
            </a:prstGeom>
          </p:spPr>
        </p:pic>
        <p:pic>
          <p:nvPicPr>
            <p:cNvPr id="329" name="Picture 328"/>
            <p:cNvPicPr>
              <a:picLocks noChangeAspect="1"/>
            </p:cNvPicPr>
            <p:nvPr/>
          </p:nvPicPr>
          <p:blipFill>
            <a:blip r:embed="rId8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38640" y="3760384"/>
              <a:ext cx="730762" cy="88910"/>
            </a:xfrm>
            <a:prstGeom prst="rect">
              <a:avLst/>
            </a:prstGeom>
          </p:spPr>
        </p:pic>
        <p:pic>
          <p:nvPicPr>
            <p:cNvPr id="330" name="Picture 329"/>
            <p:cNvPicPr>
              <a:picLocks noChangeAspect="1"/>
            </p:cNvPicPr>
            <p:nvPr/>
          </p:nvPicPr>
          <p:blipFill rotWithShape="1">
            <a:blip r:embed="rId8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5333" t="19524" r="15333" b="34762"/>
            <a:stretch/>
          </p:blipFill>
          <p:spPr>
            <a:xfrm>
              <a:off x="3817908" y="3952970"/>
              <a:ext cx="833976" cy="384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39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T4023- Dual Cord Wall Mount</a:t>
            </a:r>
            <a:endParaRPr lang="en-US" sz="1200" b="0" dirty="0">
              <a:solidFill>
                <a:srgbClr val="FF7A14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0D55CB3-A229-4D37-98DE-0BA6D5C5D1A9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1485900" y="4457700"/>
            <a:ext cx="6172200" cy="228600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McKinney &amp; Olive- Dallas, TX</a:t>
            </a:r>
            <a:endParaRPr lang="en-US" dirty="0"/>
          </a:p>
        </p:txBody>
      </p:sp>
      <p:pic>
        <p:nvPicPr>
          <p:cNvPr id="6" name="Picture Placeholder 5"/>
          <p:cNvPicPr>
            <a:picLocks noGrp="1" noChangeAspect="1"/>
          </p:cNvPicPr>
          <p:nvPr>
            <p:ph type="pic" sz="quarter" idx="1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80" b="13580"/>
          <a:stretch>
            <a:fillRect/>
          </a:stretch>
        </p:blipFill>
        <p:spPr/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257" y="4019550"/>
            <a:ext cx="1828800" cy="76200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943" y="3371251"/>
            <a:ext cx="1371600" cy="1667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558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T4021- Dual Cord Bollard Units</a:t>
            </a:r>
            <a:endParaRPr lang="en-US" sz="1200" b="0" dirty="0">
              <a:solidFill>
                <a:srgbClr val="FF7A14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0D55CB3-A229-4D37-98DE-0BA6D5C5D1A9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1485900" y="4457700"/>
            <a:ext cx="6172200" cy="228600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Honda North America Employee Parking Lot</a:t>
            </a:r>
            <a:endParaRPr lang="en-US" dirty="0"/>
          </a:p>
        </p:txBody>
      </p:sp>
      <p:pic>
        <p:nvPicPr>
          <p:cNvPr id="8" name="Picture Placeholder 5"/>
          <p:cNvPicPr>
            <a:picLocks noGrp="1" noChangeAspect="1"/>
          </p:cNvPicPr>
          <p:nvPr>
            <p:ph type="pic" sz="quarter" idx="1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64" b="22664"/>
          <a:stretch>
            <a:fillRect/>
          </a:stretch>
        </p:blipFill>
        <p:spPr/>
      </p:pic>
      <p:pic>
        <p:nvPicPr>
          <p:cNvPr id="3074" name="Picture 2" descr="http://auto.a-filtr.ru/images1/honda-logo-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3958828"/>
            <a:ext cx="1145113" cy="727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9354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T4023- Dual Cord Wall Mount</a:t>
            </a:r>
            <a:endParaRPr lang="en-US" sz="1200" b="0" dirty="0">
              <a:solidFill>
                <a:srgbClr val="FF7A14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0D55CB3-A229-4D37-98DE-0BA6D5C5D1A9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1485900" y="4457700"/>
            <a:ext cx="6172200" cy="228600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Shell Oil- Houston, TX</a:t>
            </a:r>
            <a:endParaRPr lang="en-US" dirty="0"/>
          </a:p>
        </p:txBody>
      </p:sp>
      <p:pic>
        <p:nvPicPr>
          <p:cNvPr id="9" name="Picture Placeholder 6"/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514" b="29514"/>
          <a:stretch>
            <a:fillRect/>
          </a:stretch>
        </p:blipFill>
        <p:spPr/>
      </p:pic>
      <p:pic>
        <p:nvPicPr>
          <p:cNvPr id="8" name="Picture 4" descr="http://www.gormansgarage.com/_photos/logo-shell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3853328"/>
            <a:ext cx="963022" cy="115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386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5950" y="457201"/>
            <a:ext cx="5486400" cy="400110"/>
          </a:xfrm>
        </p:spPr>
        <p:txBody>
          <a:bodyPr/>
          <a:lstStyle/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BCCA5C-75CA-43B8-B936-D2315E2FCCF6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943100" y="800100"/>
            <a:ext cx="5486400" cy="1543050"/>
          </a:xfrm>
        </p:spPr>
        <p:txBody>
          <a:bodyPr/>
          <a:lstStyle/>
          <a:p>
            <a:r>
              <a:rPr lang="en-US" dirty="0" smtClean="0"/>
              <a:t>For further information on ChargePoint, </a:t>
            </a:r>
            <a:br>
              <a:rPr lang="en-US" dirty="0" smtClean="0"/>
            </a:br>
            <a:r>
              <a:rPr lang="en-US" dirty="0" smtClean="0"/>
              <a:t>please contact Dave Aasheim:</a:t>
            </a:r>
            <a:br>
              <a:rPr lang="en-US" dirty="0" smtClean="0"/>
            </a:br>
            <a:r>
              <a:rPr lang="en-US" dirty="0" smtClean="0">
                <a:solidFill>
                  <a:srgbClr val="50A1D9"/>
                </a:solidFill>
                <a:hlinkClick r:id="rId2"/>
              </a:rPr>
              <a:t>dave.aasheim@chargepoint.com</a:t>
            </a:r>
            <a:endParaRPr lang="en-US" dirty="0" smtClean="0">
              <a:solidFill>
                <a:srgbClr val="50A1D9"/>
              </a:solidFill>
            </a:endParaRPr>
          </a:p>
          <a:p>
            <a:r>
              <a:rPr lang="en-US" dirty="0" smtClean="0"/>
              <a:t>(214) 449-7544</a:t>
            </a:r>
          </a:p>
        </p:txBody>
      </p:sp>
      <p:pic>
        <p:nvPicPr>
          <p:cNvPr id="6" name="Picture Placeholder 6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95" r="120" b="14077"/>
          <a:stretch/>
        </p:blipFill>
        <p:spPr bwMode="auto">
          <a:xfrm>
            <a:off x="1175659" y="2114550"/>
            <a:ext cx="6825341" cy="266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06513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390" y="247196"/>
            <a:ext cx="8229600" cy="400110"/>
          </a:xfrm>
        </p:spPr>
        <p:txBody>
          <a:bodyPr/>
          <a:lstStyle/>
          <a:p>
            <a:r>
              <a:rPr lang="en-US" dirty="0" smtClean="0"/>
              <a:t>Top Metros for EV Adop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B65967-37EE-4D55-82F8-A6494FD55C33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707207" y="4857751"/>
            <a:ext cx="1988993" cy="219291"/>
          </a:xfrm>
          <a:prstGeom prst="rect">
            <a:avLst/>
          </a:prstGeom>
          <a:solidFill>
            <a:srgbClr val="FFC000"/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US" sz="825" b="1" dirty="0"/>
              <a:t>Source: Polk (no GEM NEVs</a:t>
            </a:r>
            <a:r>
              <a:rPr lang="en-US" sz="825" dirty="0"/>
              <a:t>)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76200" y="692839"/>
          <a:ext cx="4906454" cy="4164902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5310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67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1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5162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620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7316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Rank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16" marR="4916" marT="491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Metro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16" marR="4916" marT="491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 smtClean="0">
                          <a:effectLst/>
                        </a:rPr>
                        <a:t>Q2‘16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16" marR="4916" marT="491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 smtClean="0">
                          <a:effectLst/>
                        </a:rPr>
                        <a:t>Q2'17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16" marR="4916" marT="491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Growth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16" marR="4916" marT="4916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9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96,761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133,639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8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9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y Are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82,873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112,016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5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9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Y/NJ/CT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19,527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26,999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8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9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n Diego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15,974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21,929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9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attl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14,205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19,443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6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lant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20,425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18,612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9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9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7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icago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8,420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11,723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8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C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7,818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11,444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6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9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9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land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7,763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11,092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3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9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troit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7,426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11,034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9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9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ami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6,978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9,663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8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9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oenix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6,534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9,607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7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9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llas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6,219 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8,898 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3%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9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ston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5,594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8,148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6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9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nver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5,129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7,733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1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99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6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iladelphi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5,126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7,464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6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99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7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uston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3,725 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5,056 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%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9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8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stin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3,294 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4,741 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4%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9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9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ltimor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3,283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4,741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4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9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2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nolulu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3,491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4,661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5077251" y="1428750"/>
            <a:ext cx="4057650" cy="2371109"/>
            <a:chOff x="1428750" y="810241"/>
            <a:chExt cx="6255245" cy="3951684"/>
          </a:xfrm>
        </p:grpSpPr>
        <p:sp>
          <p:nvSpPr>
            <p:cNvPr id="9" name="Freeform 191"/>
            <p:cNvSpPr>
              <a:spLocks/>
            </p:cNvSpPr>
            <p:nvPr/>
          </p:nvSpPr>
          <p:spPr bwMode="auto">
            <a:xfrm>
              <a:off x="7013974" y="3061714"/>
              <a:ext cx="40481" cy="40481"/>
            </a:xfrm>
            <a:custGeom>
              <a:avLst/>
              <a:gdLst>
                <a:gd name="T0" fmla="*/ 0 w 34"/>
                <a:gd name="T1" fmla="*/ 30 h 34"/>
                <a:gd name="T2" fmla="*/ 4 w 34"/>
                <a:gd name="T3" fmla="*/ 34 h 34"/>
                <a:gd name="T4" fmla="*/ 34 w 34"/>
                <a:gd name="T5" fmla="*/ 4 h 34"/>
                <a:gd name="T6" fmla="*/ 30 w 34"/>
                <a:gd name="T7" fmla="*/ 0 h 34"/>
                <a:gd name="T8" fmla="*/ 0 w 34"/>
                <a:gd name="T9" fmla="*/ 3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0" y="30"/>
                  </a:moveTo>
                  <a:lnTo>
                    <a:pt x="4" y="34"/>
                  </a:lnTo>
                  <a:lnTo>
                    <a:pt x="34" y="4"/>
                  </a:lnTo>
                  <a:lnTo>
                    <a:pt x="30" y="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" name="Freeform 192"/>
            <p:cNvSpPr>
              <a:spLocks/>
            </p:cNvSpPr>
            <p:nvPr/>
          </p:nvSpPr>
          <p:spPr bwMode="auto">
            <a:xfrm>
              <a:off x="7037786" y="2925982"/>
              <a:ext cx="45244" cy="128588"/>
            </a:xfrm>
            <a:custGeom>
              <a:avLst/>
              <a:gdLst>
                <a:gd name="T0" fmla="*/ 18 w 38"/>
                <a:gd name="T1" fmla="*/ 108 h 108"/>
                <a:gd name="T2" fmla="*/ 22 w 38"/>
                <a:gd name="T3" fmla="*/ 108 h 108"/>
                <a:gd name="T4" fmla="*/ 38 w 38"/>
                <a:gd name="T5" fmla="*/ 100 h 108"/>
                <a:gd name="T6" fmla="*/ 36 w 38"/>
                <a:gd name="T7" fmla="*/ 50 h 108"/>
                <a:gd name="T8" fmla="*/ 2 w 38"/>
                <a:gd name="T9" fmla="*/ 0 h 108"/>
                <a:gd name="T10" fmla="*/ 0 w 38"/>
                <a:gd name="T11" fmla="*/ 4 h 108"/>
                <a:gd name="T12" fmla="*/ 32 w 38"/>
                <a:gd name="T13" fmla="*/ 50 h 108"/>
                <a:gd name="T14" fmla="*/ 34 w 38"/>
                <a:gd name="T15" fmla="*/ 94 h 108"/>
                <a:gd name="T16" fmla="*/ 18 w 38"/>
                <a:gd name="T17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108">
                  <a:moveTo>
                    <a:pt x="18" y="108"/>
                  </a:moveTo>
                  <a:lnTo>
                    <a:pt x="22" y="108"/>
                  </a:lnTo>
                  <a:lnTo>
                    <a:pt x="38" y="100"/>
                  </a:lnTo>
                  <a:lnTo>
                    <a:pt x="36" y="50"/>
                  </a:lnTo>
                  <a:lnTo>
                    <a:pt x="2" y="0"/>
                  </a:lnTo>
                  <a:lnTo>
                    <a:pt x="0" y="4"/>
                  </a:lnTo>
                  <a:lnTo>
                    <a:pt x="32" y="50"/>
                  </a:lnTo>
                  <a:lnTo>
                    <a:pt x="34" y="94"/>
                  </a:lnTo>
                  <a:lnTo>
                    <a:pt x="18" y="108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" name="Freeform 193"/>
            <p:cNvSpPr>
              <a:spLocks/>
            </p:cNvSpPr>
            <p:nvPr/>
          </p:nvSpPr>
          <p:spPr bwMode="auto">
            <a:xfrm>
              <a:off x="7406879" y="1991341"/>
              <a:ext cx="42863" cy="30956"/>
            </a:xfrm>
            <a:custGeom>
              <a:avLst/>
              <a:gdLst>
                <a:gd name="T0" fmla="*/ 0 w 36"/>
                <a:gd name="T1" fmla="*/ 20 h 26"/>
                <a:gd name="T2" fmla="*/ 10 w 36"/>
                <a:gd name="T3" fmla="*/ 26 h 26"/>
                <a:gd name="T4" fmla="*/ 16 w 36"/>
                <a:gd name="T5" fmla="*/ 18 h 26"/>
                <a:gd name="T6" fmla="*/ 32 w 36"/>
                <a:gd name="T7" fmla="*/ 12 h 26"/>
                <a:gd name="T8" fmla="*/ 36 w 36"/>
                <a:gd name="T9" fmla="*/ 16 h 26"/>
                <a:gd name="T10" fmla="*/ 34 w 36"/>
                <a:gd name="T11" fmla="*/ 2 h 26"/>
                <a:gd name="T12" fmla="*/ 28 w 36"/>
                <a:gd name="T13" fmla="*/ 4 h 26"/>
                <a:gd name="T14" fmla="*/ 20 w 36"/>
                <a:gd name="T15" fmla="*/ 0 h 26"/>
                <a:gd name="T16" fmla="*/ 10 w 36"/>
                <a:gd name="T17" fmla="*/ 4 h 26"/>
                <a:gd name="T18" fmla="*/ 8 w 36"/>
                <a:gd name="T19" fmla="*/ 16 h 26"/>
                <a:gd name="T20" fmla="*/ 0 w 36"/>
                <a:gd name="T21" fmla="*/ 2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26">
                  <a:moveTo>
                    <a:pt x="0" y="20"/>
                  </a:moveTo>
                  <a:lnTo>
                    <a:pt x="10" y="26"/>
                  </a:lnTo>
                  <a:lnTo>
                    <a:pt x="16" y="18"/>
                  </a:lnTo>
                  <a:lnTo>
                    <a:pt x="32" y="12"/>
                  </a:lnTo>
                  <a:lnTo>
                    <a:pt x="36" y="16"/>
                  </a:lnTo>
                  <a:lnTo>
                    <a:pt x="34" y="2"/>
                  </a:lnTo>
                  <a:lnTo>
                    <a:pt x="28" y="4"/>
                  </a:lnTo>
                  <a:lnTo>
                    <a:pt x="20" y="0"/>
                  </a:lnTo>
                  <a:lnTo>
                    <a:pt x="10" y="4"/>
                  </a:lnTo>
                  <a:lnTo>
                    <a:pt x="8" y="16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" name="Freeform 194"/>
            <p:cNvSpPr>
              <a:spLocks/>
            </p:cNvSpPr>
            <p:nvPr/>
          </p:nvSpPr>
          <p:spPr bwMode="auto">
            <a:xfrm>
              <a:off x="7473555" y="1986579"/>
              <a:ext cx="30956" cy="26194"/>
            </a:xfrm>
            <a:custGeom>
              <a:avLst/>
              <a:gdLst>
                <a:gd name="T0" fmla="*/ 0 w 26"/>
                <a:gd name="T1" fmla="*/ 18 h 22"/>
                <a:gd name="T2" fmla="*/ 14 w 26"/>
                <a:gd name="T3" fmla="*/ 22 h 22"/>
                <a:gd name="T4" fmla="*/ 24 w 26"/>
                <a:gd name="T5" fmla="*/ 20 h 22"/>
                <a:gd name="T6" fmla="*/ 26 w 26"/>
                <a:gd name="T7" fmla="*/ 10 h 22"/>
                <a:gd name="T8" fmla="*/ 16 w 26"/>
                <a:gd name="T9" fmla="*/ 0 h 22"/>
                <a:gd name="T10" fmla="*/ 18 w 26"/>
                <a:gd name="T11" fmla="*/ 8 h 22"/>
                <a:gd name="T12" fmla="*/ 16 w 26"/>
                <a:gd name="T13" fmla="*/ 14 h 22"/>
                <a:gd name="T14" fmla="*/ 2 w 26"/>
                <a:gd name="T15" fmla="*/ 14 h 22"/>
                <a:gd name="T16" fmla="*/ 0 w 26"/>
                <a:gd name="T1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22">
                  <a:moveTo>
                    <a:pt x="0" y="18"/>
                  </a:moveTo>
                  <a:lnTo>
                    <a:pt x="14" y="22"/>
                  </a:lnTo>
                  <a:lnTo>
                    <a:pt x="24" y="20"/>
                  </a:lnTo>
                  <a:lnTo>
                    <a:pt x="26" y="10"/>
                  </a:lnTo>
                  <a:lnTo>
                    <a:pt x="16" y="0"/>
                  </a:lnTo>
                  <a:lnTo>
                    <a:pt x="18" y="8"/>
                  </a:lnTo>
                  <a:lnTo>
                    <a:pt x="16" y="14"/>
                  </a:lnTo>
                  <a:lnTo>
                    <a:pt x="2" y="14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" name="Freeform 195"/>
            <p:cNvSpPr>
              <a:spLocks/>
            </p:cNvSpPr>
            <p:nvPr/>
          </p:nvSpPr>
          <p:spPr bwMode="auto">
            <a:xfrm>
              <a:off x="7092554" y="1791316"/>
              <a:ext cx="409575" cy="204788"/>
            </a:xfrm>
            <a:custGeom>
              <a:avLst/>
              <a:gdLst>
                <a:gd name="T0" fmla="*/ 2 w 344"/>
                <a:gd name="T1" fmla="*/ 164 h 172"/>
                <a:gd name="T2" fmla="*/ 0 w 344"/>
                <a:gd name="T3" fmla="*/ 164 h 172"/>
                <a:gd name="T4" fmla="*/ 2 w 344"/>
                <a:gd name="T5" fmla="*/ 72 h 172"/>
                <a:gd name="T6" fmla="*/ 180 w 344"/>
                <a:gd name="T7" fmla="*/ 30 h 172"/>
                <a:gd name="T8" fmla="*/ 208 w 344"/>
                <a:gd name="T9" fmla="*/ 2 h 172"/>
                <a:gd name="T10" fmla="*/ 218 w 344"/>
                <a:gd name="T11" fmla="*/ 0 h 172"/>
                <a:gd name="T12" fmla="*/ 244 w 344"/>
                <a:gd name="T13" fmla="*/ 30 h 172"/>
                <a:gd name="T14" fmla="*/ 238 w 344"/>
                <a:gd name="T15" fmla="*/ 36 h 172"/>
                <a:gd name="T16" fmla="*/ 234 w 344"/>
                <a:gd name="T17" fmla="*/ 52 h 172"/>
                <a:gd name="T18" fmla="*/ 230 w 344"/>
                <a:gd name="T19" fmla="*/ 56 h 172"/>
                <a:gd name="T20" fmla="*/ 228 w 344"/>
                <a:gd name="T21" fmla="*/ 64 h 172"/>
                <a:gd name="T22" fmla="*/ 228 w 344"/>
                <a:gd name="T23" fmla="*/ 72 h 172"/>
                <a:gd name="T24" fmla="*/ 232 w 344"/>
                <a:gd name="T25" fmla="*/ 76 h 172"/>
                <a:gd name="T26" fmla="*/ 248 w 344"/>
                <a:gd name="T27" fmla="*/ 78 h 172"/>
                <a:gd name="T28" fmla="*/ 258 w 344"/>
                <a:gd name="T29" fmla="*/ 84 h 172"/>
                <a:gd name="T30" fmla="*/ 264 w 344"/>
                <a:gd name="T31" fmla="*/ 102 h 172"/>
                <a:gd name="T32" fmla="*/ 274 w 344"/>
                <a:gd name="T33" fmla="*/ 106 h 172"/>
                <a:gd name="T34" fmla="*/ 286 w 344"/>
                <a:gd name="T35" fmla="*/ 124 h 172"/>
                <a:gd name="T36" fmla="*/ 322 w 344"/>
                <a:gd name="T37" fmla="*/ 128 h 172"/>
                <a:gd name="T38" fmla="*/ 332 w 344"/>
                <a:gd name="T39" fmla="*/ 120 h 172"/>
                <a:gd name="T40" fmla="*/ 334 w 344"/>
                <a:gd name="T41" fmla="*/ 114 h 172"/>
                <a:gd name="T42" fmla="*/ 328 w 344"/>
                <a:gd name="T43" fmla="*/ 94 h 172"/>
                <a:gd name="T44" fmla="*/ 332 w 344"/>
                <a:gd name="T45" fmla="*/ 92 h 172"/>
                <a:gd name="T46" fmla="*/ 336 w 344"/>
                <a:gd name="T47" fmla="*/ 94 h 172"/>
                <a:gd name="T48" fmla="*/ 344 w 344"/>
                <a:gd name="T49" fmla="*/ 118 h 172"/>
                <a:gd name="T50" fmla="*/ 342 w 344"/>
                <a:gd name="T51" fmla="*/ 122 h 172"/>
                <a:gd name="T52" fmla="*/ 326 w 344"/>
                <a:gd name="T53" fmla="*/ 140 h 172"/>
                <a:gd name="T54" fmla="*/ 316 w 344"/>
                <a:gd name="T55" fmla="*/ 140 h 172"/>
                <a:gd name="T56" fmla="*/ 298 w 344"/>
                <a:gd name="T57" fmla="*/ 154 h 172"/>
                <a:gd name="T58" fmla="*/ 288 w 344"/>
                <a:gd name="T59" fmla="*/ 154 h 172"/>
                <a:gd name="T60" fmla="*/ 282 w 344"/>
                <a:gd name="T61" fmla="*/ 144 h 172"/>
                <a:gd name="T62" fmla="*/ 276 w 344"/>
                <a:gd name="T63" fmla="*/ 144 h 172"/>
                <a:gd name="T64" fmla="*/ 256 w 344"/>
                <a:gd name="T65" fmla="*/ 164 h 172"/>
                <a:gd name="T66" fmla="*/ 244 w 344"/>
                <a:gd name="T67" fmla="*/ 170 h 172"/>
                <a:gd name="T68" fmla="*/ 238 w 344"/>
                <a:gd name="T69" fmla="*/ 172 h 172"/>
                <a:gd name="T70" fmla="*/ 230 w 344"/>
                <a:gd name="T71" fmla="*/ 156 h 172"/>
                <a:gd name="T72" fmla="*/ 204 w 344"/>
                <a:gd name="T73" fmla="*/ 146 h 172"/>
                <a:gd name="T74" fmla="*/ 202 w 344"/>
                <a:gd name="T75" fmla="*/ 134 h 172"/>
                <a:gd name="T76" fmla="*/ 198 w 344"/>
                <a:gd name="T77" fmla="*/ 134 h 172"/>
                <a:gd name="T78" fmla="*/ 194 w 344"/>
                <a:gd name="T79" fmla="*/ 118 h 172"/>
                <a:gd name="T80" fmla="*/ 70 w 344"/>
                <a:gd name="T81" fmla="*/ 148 h 172"/>
                <a:gd name="T82" fmla="*/ 68 w 344"/>
                <a:gd name="T83" fmla="*/ 154 h 172"/>
                <a:gd name="T84" fmla="*/ 64 w 344"/>
                <a:gd name="T85" fmla="*/ 150 h 172"/>
                <a:gd name="T86" fmla="*/ 2 w 344"/>
                <a:gd name="T87" fmla="*/ 16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44" h="172">
                  <a:moveTo>
                    <a:pt x="2" y="164"/>
                  </a:moveTo>
                  <a:lnTo>
                    <a:pt x="0" y="164"/>
                  </a:lnTo>
                  <a:lnTo>
                    <a:pt x="2" y="72"/>
                  </a:lnTo>
                  <a:lnTo>
                    <a:pt x="180" y="30"/>
                  </a:lnTo>
                  <a:lnTo>
                    <a:pt x="208" y="2"/>
                  </a:lnTo>
                  <a:lnTo>
                    <a:pt x="218" y="0"/>
                  </a:lnTo>
                  <a:lnTo>
                    <a:pt x="244" y="30"/>
                  </a:lnTo>
                  <a:lnTo>
                    <a:pt x="238" y="36"/>
                  </a:lnTo>
                  <a:lnTo>
                    <a:pt x="234" y="52"/>
                  </a:lnTo>
                  <a:lnTo>
                    <a:pt x="230" y="56"/>
                  </a:lnTo>
                  <a:lnTo>
                    <a:pt x="228" y="64"/>
                  </a:lnTo>
                  <a:lnTo>
                    <a:pt x="228" y="72"/>
                  </a:lnTo>
                  <a:lnTo>
                    <a:pt x="232" y="76"/>
                  </a:lnTo>
                  <a:lnTo>
                    <a:pt x="248" y="78"/>
                  </a:lnTo>
                  <a:lnTo>
                    <a:pt x="258" y="84"/>
                  </a:lnTo>
                  <a:lnTo>
                    <a:pt x="264" y="102"/>
                  </a:lnTo>
                  <a:lnTo>
                    <a:pt x="274" y="106"/>
                  </a:lnTo>
                  <a:lnTo>
                    <a:pt x="286" y="124"/>
                  </a:lnTo>
                  <a:lnTo>
                    <a:pt x="322" y="128"/>
                  </a:lnTo>
                  <a:lnTo>
                    <a:pt x="332" y="120"/>
                  </a:lnTo>
                  <a:lnTo>
                    <a:pt x="334" y="114"/>
                  </a:lnTo>
                  <a:lnTo>
                    <a:pt x="328" y="94"/>
                  </a:lnTo>
                  <a:lnTo>
                    <a:pt x="332" y="92"/>
                  </a:lnTo>
                  <a:lnTo>
                    <a:pt x="336" y="94"/>
                  </a:lnTo>
                  <a:lnTo>
                    <a:pt x="344" y="118"/>
                  </a:lnTo>
                  <a:lnTo>
                    <a:pt x="342" y="122"/>
                  </a:lnTo>
                  <a:lnTo>
                    <a:pt x="326" y="140"/>
                  </a:lnTo>
                  <a:lnTo>
                    <a:pt x="316" y="140"/>
                  </a:lnTo>
                  <a:lnTo>
                    <a:pt x="298" y="154"/>
                  </a:lnTo>
                  <a:lnTo>
                    <a:pt x="288" y="154"/>
                  </a:lnTo>
                  <a:lnTo>
                    <a:pt x="282" y="144"/>
                  </a:lnTo>
                  <a:lnTo>
                    <a:pt x="276" y="144"/>
                  </a:lnTo>
                  <a:lnTo>
                    <a:pt x="256" y="164"/>
                  </a:lnTo>
                  <a:lnTo>
                    <a:pt x="244" y="170"/>
                  </a:lnTo>
                  <a:lnTo>
                    <a:pt x="238" y="172"/>
                  </a:lnTo>
                  <a:lnTo>
                    <a:pt x="230" y="156"/>
                  </a:lnTo>
                  <a:lnTo>
                    <a:pt x="204" y="146"/>
                  </a:lnTo>
                  <a:lnTo>
                    <a:pt x="202" y="134"/>
                  </a:lnTo>
                  <a:lnTo>
                    <a:pt x="198" y="134"/>
                  </a:lnTo>
                  <a:lnTo>
                    <a:pt x="194" y="118"/>
                  </a:lnTo>
                  <a:lnTo>
                    <a:pt x="70" y="148"/>
                  </a:lnTo>
                  <a:lnTo>
                    <a:pt x="68" y="154"/>
                  </a:lnTo>
                  <a:lnTo>
                    <a:pt x="64" y="150"/>
                  </a:lnTo>
                  <a:lnTo>
                    <a:pt x="2" y="164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" name="Freeform 197"/>
            <p:cNvSpPr>
              <a:spLocks/>
            </p:cNvSpPr>
            <p:nvPr/>
          </p:nvSpPr>
          <p:spPr bwMode="auto">
            <a:xfrm>
              <a:off x="6023374" y="2837876"/>
              <a:ext cx="1031081" cy="481013"/>
            </a:xfrm>
            <a:custGeom>
              <a:avLst/>
              <a:gdLst>
                <a:gd name="T0" fmla="*/ 242 w 866"/>
                <a:gd name="T1" fmla="*/ 100 h 404"/>
                <a:gd name="T2" fmla="*/ 242 w 866"/>
                <a:gd name="T3" fmla="*/ 124 h 404"/>
                <a:gd name="T4" fmla="*/ 244 w 866"/>
                <a:gd name="T5" fmla="*/ 142 h 404"/>
                <a:gd name="T6" fmla="*/ 224 w 866"/>
                <a:gd name="T7" fmla="*/ 150 h 404"/>
                <a:gd name="T8" fmla="*/ 196 w 866"/>
                <a:gd name="T9" fmla="*/ 172 h 404"/>
                <a:gd name="T10" fmla="*/ 164 w 866"/>
                <a:gd name="T11" fmla="*/ 202 h 404"/>
                <a:gd name="T12" fmla="*/ 142 w 866"/>
                <a:gd name="T13" fmla="*/ 200 h 404"/>
                <a:gd name="T14" fmla="*/ 130 w 866"/>
                <a:gd name="T15" fmla="*/ 208 h 404"/>
                <a:gd name="T16" fmla="*/ 124 w 866"/>
                <a:gd name="T17" fmla="*/ 230 h 404"/>
                <a:gd name="T18" fmla="*/ 76 w 866"/>
                <a:gd name="T19" fmla="*/ 264 h 404"/>
                <a:gd name="T20" fmla="*/ 38 w 866"/>
                <a:gd name="T21" fmla="*/ 276 h 404"/>
                <a:gd name="T22" fmla="*/ 20 w 866"/>
                <a:gd name="T23" fmla="*/ 310 h 404"/>
                <a:gd name="T24" fmla="*/ 0 w 866"/>
                <a:gd name="T25" fmla="*/ 316 h 404"/>
                <a:gd name="T26" fmla="*/ 124 w 866"/>
                <a:gd name="T27" fmla="*/ 328 h 404"/>
                <a:gd name="T28" fmla="*/ 160 w 866"/>
                <a:gd name="T29" fmla="*/ 318 h 404"/>
                <a:gd name="T30" fmla="*/ 190 w 866"/>
                <a:gd name="T31" fmla="*/ 300 h 404"/>
                <a:gd name="T32" fmla="*/ 332 w 866"/>
                <a:gd name="T33" fmla="*/ 284 h 404"/>
                <a:gd name="T34" fmla="*/ 344 w 866"/>
                <a:gd name="T35" fmla="*/ 286 h 404"/>
                <a:gd name="T36" fmla="*/ 364 w 866"/>
                <a:gd name="T37" fmla="*/ 322 h 404"/>
                <a:gd name="T38" fmla="*/ 614 w 866"/>
                <a:gd name="T39" fmla="*/ 404 h 404"/>
                <a:gd name="T40" fmla="*/ 688 w 866"/>
                <a:gd name="T41" fmla="*/ 366 h 404"/>
                <a:gd name="T42" fmla="*/ 708 w 866"/>
                <a:gd name="T43" fmla="*/ 316 h 404"/>
                <a:gd name="T44" fmla="*/ 792 w 866"/>
                <a:gd name="T45" fmla="*/ 270 h 404"/>
                <a:gd name="T46" fmla="*/ 818 w 866"/>
                <a:gd name="T47" fmla="*/ 236 h 404"/>
                <a:gd name="T48" fmla="*/ 798 w 866"/>
                <a:gd name="T49" fmla="*/ 222 h 404"/>
                <a:gd name="T50" fmla="*/ 788 w 866"/>
                <a:gd name="T51" fmla="*/ 232 h 404"/>
                <a:gd name="T52" fmla="*/ 786 w 866"/>
                <a:gd name="T53" fmla="*/ 218 h 404"/>
                <a:gd name="T54" fmla="*/ 794 w 866"/>
                <a:gd name="T55" fmla="*/ 198 h 404"/>
                <a:gd name="T56" fmla="*/ 792 w 866"/>
                <a:gd name="T57" fmla="*/ 182 h 404"/>
                <a:gd name="T58" fmla="*/ 784 w 866"/>
                <a:gd name="T59" fmla="*/ 172 h 404"/>
                <a:gd name="T60" fmla="*/ 802 w 866"/>
                <a:gd name="T61" fmla="*/ 170 h 404"/>
                <a:gd name="T62" fmla="*/ 816 w 866"/>
                <a:gd name="T63" fmla="*/ 176 h 404"/>
                <a:gd name="T64" fmla="*/ 844 w 866"/>
                <a:gd name="T65" fmla="*/ 164 h 404"/>
                <a:gd name="T66" fmla="*/ 866 w 866"/>
                <a:gd name="T67" fmla="*/ 130 h 404"/>
                <a:gd name="T68" fmla="*/ 848 w 866"/>
                <a:gd name="T69" fmla="*/ 92 h 404"/>
                <a:gd name="T70" fmla="*/ 836 w 866"/>
                <a:gd name="T71" fmla="*/ 124 h 404"/>
                <a:gd name="T72" fmla="*/ 828 w 866"/>
                <a:gd name="T73" fmla="*/ 118 h 404"/>
                <a:gd name="T74" fmla="*/ 778 w 866"/>
                <a:gd name="T75" fmla="*/ 112 h 404"/>
                <a:gd name="T76" fmla="*/ 756 w 866"/>
                <a:gd name="T77" fmla="*/ 70 h 404"/>
                <a:gd name="T78" fmla="*/ 768 w 866"/>
                <a:gd name="T79" fmla="*/ 90 h 404"/>
                <a:gd name="T80" fmla="*/ 786 w 866"/>
                <a:gd name="T81" fmla="*/ 92 h 404"/>
                <a:gd name="T82" fmla="*/ 816 w 866"/>
                <a:gd name="T83" fmla="*/ 70 h 404"/>
                <a:gd name="T84" fmla="*/ 828 w 866"/>
                <a:gd name="T85" fmla="*/ 64 h 404"/>
                <a:gd name="T86" fmla="*/ 848 w 866"/>
                <a:gd name="T87" fmla="*/ 76 h 404"/>
                <a:gd name="T88" fmla="*/ 842 w 866"/>
                <a:gd name="T89" fmla="*/ 60 h 404"/>
                <a:gd name="T90" fmla="*/ 826 w 866"/>
                <a:gd name="T91" fmla="*/ 36 h 404"/>
                <a:gd name="T92" fmla="*/ 822 w 866"/>
                <a:gd name="T93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66" h="404">
                  <a:moveTo>
                    <a:pt x="744" y="16"/>
                  </a:moveTo>
                  <a:lnTo>
                    <a:pt x="242" y="100"/>
                  </a:lnTo>
                  <a:lnTo>
                    <a:pt x="240" y="118"/>
                  </a:lnTo>
                  <a:lnTo>
                    <a:pt x="242" y="124"/>
                  </a:lnTo>
                  <a:lnTo>
                    <a:pt x="238" y="136"/>
                  </a:lnTo>
                  <a:lnTo>
                    <a:pt x="244" y="142"/>
                  </a:lnTo>
                  <a:lnTo>
                    <a:pt x="234" y="142"/>
                  </a:lnTo>
                  <a:lnTo>
                    <a:pt x="224" y="150"/>
                  </a:lnTo>
                  <a:lnTo>
                    <a:pt x="212" y="178"/>
                  </a:lnTo>
                  <a:lnTo>
                    <a:pt x="196" y="172"/>
                  </a:lnTo>
                  <a:lnTo>
                    <a:pt x="188" y="176"/>
                  </a:lnTo>
                  <a:lnTo>
                    <a:pt x="164" y="202"/>
                  </a:lnTo>
                  <a:lnTo>
                    <a:pt x="156" y="190"/>
                  </a:lnTo>
                  <a:lnTo>
                    <a:pt x="142" y="200"/>
                  </a:lnTo>
                  <a:lnTo>
                    <a:pt x="140" y="210"/>
                  </a:lnTo>
                  <a:lnTo>
                    <a:pt x="130" y="208"/>
                  </a:lnTo>
                  <a:lnTo>
                    <a:pt x="130" y="216"/>
                  </a:lnTo>
                  <a:lnTo>
                    <a:pt x="124" y="230"/>
                  </a:lnTo>
                  <a:lnTo>
                    <a:pt x="106" y="236"/>
                  </a:lnTo>
                  <a:lnTo>
                    <a:pt x="76" y="264"/>
                  </a:lnTo>
                  <a:lnTo>
                    <a:pt x="50" y="268"/>
                  </a:lnTo>
                  <a:lnTo>
                    <a:pt x="38" y="276"/>
                  </a:lnTo>
                  <a:lnTo>
                    <a:pt x="26" y="288"/>
                  </a:lnTo>
                  <a:lnTo>
                    <a:pt x="20" y="310"/>
                  </a:lnTo>
                  <a:lnTo>
                    <a:pt x="4" y="310"/>
                  </a:lnTo>
                  <a:lnTo>
                    <a:pt x="0" y="316"/>
                  </a:lnTo>
                  <a:lnTo>
                    <a:pt x="0" y="344"/>
                  </a:lnTo>
                  <a:lnTo>
                    <a:pt x="124" y="328"/>
                  </a:lnTo>
                  <a:lnTo>
                    <a:pt x="156" y="316"/>
                  </a:lnTo>
                  <a:lnTo>
                    <a:pt x="160" y="318"/>
                  </a:lnTo>
                  <a:lnTo>
                    <a:pt x="166" y="308"/>
                  </a:lnTo>
                  <a:lnTo>
                    <a:pt x="190" y="300"/>
                  </a:lnTo>
                  <a:lnTo>
                    <a:pt x="194" y="294"/>
                  </a:lnTo>
                  <a:lnTo>
                    <a:pt x="332" y="284"/>
                  </a:lnTo>
                  <a:lnTo>
                    <a:pt x="336" y="294"/>
                  </a:lnTo>
                  <a:lnTo>
                    <a:pt x="344" y="286"/>
                  </a:lnTo>
                  <a:lnTo>
                    <a:pt x="362" y="304"/>
                  </a:lnTo>
                  <a:lnTo>
                    <a:pt x="364" y="322"/>
                  </a:lnTo>
                  <a:lnTo>
                    <a:pt x="480" y="304"/>
                  </a:lnTo>
                  <a:lnTo>
                    <a:pt x="614" y="404"/>
                  </a:lnTo>
                  <a:lnTo>
                    <a:pt x="656" y="388"/>
                  </a:lnTo>
                  <a:lnTo>
                    <a:pt x="688" y="366"/>
                  </a:lnTo>
                  <a:lnTo>
                    <a:pt x="690" y="354"/>
                  </a:lnTo>
                  <a:lnTo>
                    <a:pt x="708" y="316"/>
                  </a:lnTo>
                  <a:lnTo>
                    <a:pt x="752" y="280"/>
                  </a:lnTo>
                  <a:lnTo>
                    <a:pt x="792" y="270"/>
                  </a:lnTo>
                  <a:lnTo>
                    <a:pt x="816" y="248"/>
                  </a:lnTo>
                  <a:lnTo>
                    <a:pt x="818" y="236"/>
                  </a:lnTo>
                  <a:lnTo>
                    <a:pt x="814" y="222"/>
                  </a:lnTo>
                  <a:lnTo>
                    <a:pt x="798" y="222"/>
                  </a:lnTo>
                  <a:lnTo>
                    <a:pt x="788" y="228"/>
                  </a:lnTo>
                  <a:lnTo>
                    <a:pt x="788" y="232"/>
                  </a:lnTo>
                  <a:lnTo>
                    <a:pt x="786" y="228"/>
                  </a:lnTo>
                  <a:lnTo>
                    <a:pt x="786" y="218"/>
                  </a:lnTo>
                  <a:lnTo>
                    <a:pt x="792" y="208"/>
                  </a:lnTo>
                  <a:lnTo>
                    <a:pt x="794" y="198"/>
                  </a:lnTo>
                  <a:lnTo>
                    <a:pt x="802" y="188"/>
                  </a:lnTo>
                  <a:lnTo>
                    <a:pt x="792" y="182"/>
                  </a:lnTo>
                  <a:lnTo>
                    <a:pt x="762" y="176"/>
                  </a:lnTo>
                  <a:lnTo>
                    <a:pt x="784" y="172"/>
                  </a:lnTo>
                  <a:lnTo>
                    <a:pt x="794" y="158"/>
                  </a:lnTo>
                  <a:lnTo>
                    <a:pt x="802" y="170"/>
                  </a:lnTo>
                  <a:lnTo>
                    <a:pt x="808" y="170"/>
                  </a:lnTo>
                  <a:lnTo>
                    <a:pt x="816" y="176"/>
                  </a:lnTo>
                  <a:lnTo>
                    <a:pt x="834" y="172"/>
                  </a:lnTo>
                  <a:lnTo>
                    <a:pt x="844" y="164"/>
                  </a:lnTo>
                  <a:lnTo>
                    <a:pt x="856" y="138"/>
                  </a:lnTo>
                  <a:lnTo>
                    <a:pt x="866" y="130"/>
                  </a:lnTo>
                  <a:lnTo>
                    <a:pt x="858" y="102"/>
                  </a:lnTo>
                  <a:lnTo>
                    <a:pt x="848" y="92"/>
                  </a:lnTo>
                  <a:lnTo>
                    <a:pt x="840" y="104"/>
                  </a:lnTo>
                  <a:lnTo>
                    <a:pt x="836" y="124"/>
                  </a:lnTo>
                  <a:lnTo>
                    <a:pt x="834" y="124"/>
                  </a:lnTo>
                  <a:lnTo>
                    <a:pt x="828" y="118"/>
                  </a:lnTo>
                  <a:lnTo>
                    <a:pt x="822" y="96"/>
                  </a:lnTo>
                  <a:lnTo>
                    <a:pt x="778" y="112"/>
                  </a:lnTo>
                  <a:lnTo>
                    <a:pt x="766" y="112"/>
                  </a:lnTo>
                  <a:lnTo>
                    <a:pt x="756" y="70"/>
                  </a:lnTo>
                  <a:lnTo>
                    <a:pt x="758" y="66"/>
                  </a:lnTo>
                  <a:lnTo>
                    <a:pt x="768" y="90"/>
                  </a:lnTo>
                  <a:lnTo>
                    <a:pt x="776" y="94"/>
                  </a:lnTo>
                  <a:lnTo>
                    <a:pt x="786" y="92"/>
                  </a:lnTo>
                  <a:lnTo>
                    <a:pt x="810" y="70"/>
                  </a:lnTo>
                  <a:lnTo>
                    <a:pt x="816" y="70"/>
                  </a:lnTo>
                  <a:lnTo>
                    <a:pt x="816" y="62"/>
                  </a:lnTo>
                  <a:lnTo>
                    <a:pt x="828" y="64"/>
                  </a:lnTo>
                  <a:lnTo>
                    <a:pt x="838" y="62"/>
                  </a:lnTo>
                  <a:lnTo>
                    <a:pt x="848" y="76"/>
                  </a:lnTo>
                  <a:lnTo>
                    <a:pt x="848" y="74"/>
                  </a:lnTo>
                  <a:lnTo>
                    <a:pt x="842" y="60"/>
                  </a:lnTo>
                  <a:lnTo>
                    <a:pt x="832" y="52"/>
                  </a:lnTo>
                  <a:lnTo>
                    <a:pt x="826" y="36"/>
                  </a:lnTo>
                  <a:lnTo>
                    <a:pt x="822" y="30"/>
                  </a:lnTo>
                  <a:lnTo>
                    <a:pt x="822" y="0"/>
                  </a:lnTo>
                  <a:lnTo>
                    <a:pt x="744" y="1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5" name="Freeform 198"/>
            <p:cNvSpPr>
              <a:spLocks/>
            </p:cNvSpPr>
            <p:nvPr/>
          </p:nvSpPr>
          <p:spPr bwMode="auto">
            <a:xfrm>
              <a:off x="5549503" y="3264119"/>
              <a:ext cx="452438" cy="742950"/>
            </a:xfrm>
            <a:custGeom>
              <a:avLst/>
              <a:gdLst>
                <a:gd name="T0" fmla="*/ 20 w 380"/>
                <a:gd name="T1" fmla="*/ 610 h 624"/>
                <a:gd name="T2" fmla="*/ 36 w 380"/>
                <a:gd name="T3" fmla="*/ 610 h 624"/>
                <a:gd name="T4" fmla="*/ 44 w 380"/>
                <a:gd name="T5" fmla="*/ 606 h 624"/>
                <a:gd name="T6" fmla="*/ 56 w 380"/>
                <a:gd name="T7" fmla="*/ 540 h 624"/>
                <a:gd name="T8" fmla="*/ 70 w 380"/>
                <a:gd name="T9" fmla="*/ 604 h 624"/>
                <a:gd name="T10" fmla="*/ 64 w 380"/>
                <a:gd name="T11" fmla="*/ 616 h 624"/>
                <a:gd name="T12" fmla="*/ 68 w 380"/>
                <a:gd name="T13" fmla="*/ 624 h 624"/>
                <a:gd name="T14" fmla="*/ 126 w 380"/>
                <a:gd name="T15" fmla="*/ 604 h 624"/>
                <a:gd name="T16" fmla="*/ 122 w 380"/>
                <a:gd name="T17" fmla="*/ 584 h 624"/>
                <a:gd name="T18" fmla="*/ 126 w 380"/>
                <a:gd name="T19" fmla="*/ 568 h 624"/>
                <a:gd name="T20" fmla="*/ 100 w 380"/>
                <a:gd name="T21" fmla="*/ 544 h 624"/>
                <a:gd name="T22" fmla="*/ 100 w 380"/>
                <a:gd name="T23" fmla="*/ 526 h 624"/>
                <a:gd name="T24" fmla="*/ 380 w 380"/>
                <a:gd name="T25" fmla="*/ 500 h 624"/>
                <a:gd name="T26" fmla="*/ 368 w 380"/>
                <a:gd name="T27" fmla="*/ 480 h 624"/>
                <a:gd name="T28" fmla="*/ 368 w 380"/>
                <a:gd name="T29" fmla="*/ 410 h 624"/>
                <a:gd name="T30" fmla="*/ 360 w 380"/>
                <a:gd name="T31" fmla="*/ 388 h 624"/>
                <a:gd name="T32" fmla="*/ 360 w 380"/>
                <a:gd name="T33" fmla="*/ 358 h 624"/>
                <a:gd name="T34" fmla="*/ 376 w 380"/>
                <a:gd name="T35" fmla="*/ 338 h 624"/>
                <a:gd name="T36" fmla="*/ 364 w 380"/>
                <a:gd name="T37" fmla="*/ 332 h 624"/>
                <a:gd name="T38" fmla="*/ 366 w 380"/>
                <a:gd name="T39" fmla="*/ 320 h 624"/>
                <a:gd name="T40" fmla="*/ 348 w 380"/>
                <a:gd name="T41" fmla="*/ 294 h 624"/>
                <a:gd name="T42" fmla="*/ 264 w 380"/>
                <a:gd name="T43" fmla="*/ 0 h 624"/>
                <a:gd name="T44" fmla="*/ 0 w 380"/>
                <a:gd name="T45" fmla="*/ 22 h 624"/>
                <a:gd name="T46" fmla="*/ 12 w 380"/>
                <a:gd name="T47" fmla="*/ 36 h 624"/>
                <a:gd name="T48" fmla="*/ 20 w 380"/>
                <a:gd name="T49" fmla="*/ 610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0" h="624">
                  <a:moveTo>
                    <a:pt x="20" y="610"/>
                  </a:moveTo>
                  <a:lnTo>
                    <a:pt x="36" y="610"/>
                  </a:lnTo>
                  <a:lnTo>
                    <a:pt x="44" y="606"/>
                  </a:lnTo>
                  <a:lnTo>
                    <a:pt x="56" y="540"/>
                  </a:lnTo>
                  <a:lnTo>
                    <a:pt x="70" y="604"/>
                  </a:lnTo>
                  <a:lnTo>
                    <a:pt x="64" y="616"/>
                  </a:lnTo>
                  <a:lnTo>
                    <a:pt x="68" y="624"/>
                  </a:lnTo>
                  <a:lnTo>
                    <a:pt x="126" y="604"/>
                  </a:lnTo>
                  <a:lnTo>
                    <a:pt x="122" y="584"/>
                  </a:lnTo>
                  <a:lnTo>
                    <a:pt x="126" y="568"/>
                  </a:lnTo>
                  <a:lnTo>
                    <a:pt x="100" y="544"/>
                  </a:lnTo>
                  <a:lnTo>
                    <a:pt x="100" y="526"/>
                  </a:lnTo>
                  <a:lnTo>
                    <a:pt x="380" y="500"/>
                  </a:lnTo>
                  <a:lnTo>
                    <a:pt x="368" y="480"/>
                  </a:lnTo>
                  <a:lnTo>
                    <a:pt x="368" y="410"/>
                  </a:lnTo>
                  <a:lnTo>
                    <a:pt x="360" y="388"/>
                  </a:lnTo>
                  <a:lnTo>
                    <a:pt x="360" y="358"/>
                  </a:lnTo>
                  <a:lnTo>
                    <a:pt x="376" y="338"/>
                  </a:lnTo>
                  <a:lnTo>
                    <a:pt x="364" y="332"/>
                  </a:lnTo>
                  <a:lnTo>
                    <a:pt x="366" y="320"/>
                  </a:lnTo>
                  <a:lnTo>
                    <a:pt x="348" y="294"/>
                  </a:lnTo>
                  <a:lnTo>
                    <a:pt x="264" y="0"/>
                  </a:lnTo>
                  <a:lnTo>
                    <a:pt x="0" y="22"/>
                  </a:lnTo>
                  <a:lnTo>
                    <a:pt x="12" y="36"/>
                  </a:lnTo>
                  <a:lnTo>
                    <a:pt x="20" y="61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6" name="Freeform 199"/>
            <p:cNvSpPr>
              <a:spLocks/>
            </p:cNvSpPr>
            <p:nvPr/>
          </p:nvSpPr>
          <p:spPr bwMode="auto">
            <a:xfrm>
              <a:off x="4761311" y="3078382"/>
              <a:ext cx="600075" cy="545306"/>
            </a:xfrm>
            <a:custGeom>
              <a:avLst/>
              <a:gdLst>
                <a:gd name="T0" fmla="*/ 364 w 504"/>
                <a:gd name="T1" fmla="*/ 4 h 458"/>
                <a:gd name="T2" fmla="*/ 0 w 504"/>
                <a:gd name="T3" fmla="*/ 14 h 458"/>
                <a:gd name="T4" fmla="*/ 16 w 504"/>
                <a:gd name="T5" fmla="*/ 378 h 458"/>
                <a:gd name="T6" fmla="*/ 24 w 504"/>
                <a:gd name="T7" fmla="*/ 388 h 458"/>
                <a:gd name="T8" fmla="*/ 46 w 504"/>
                <a:gd name="T9" fmla="*/ 384 h 458"/>
                <a:gd name="T10" fmla="*/ 60 w 504"/>
                <a:gd name="T11" fmla="*/ 390 h 458"/>
                <a:gd name="T12" fmla="*/ 62 w 504"/>
                <a:gd name="T13" fmla="*/ 458 h 458"/>
                <a:gd name="T14" fmla="*/ 368 w 504"/>
                <a:gd name="T15" fmla="*/ 450 h 458"/>
                <a:gd name="T16" fmla="*/ 366 w 504"/>
                <a:gd name="T17" fmla="*/ 436 h 458"/>
                <a:gd name="T18" fmla="*/ 372 w 504"/>
                <a:gd name="T19" fmla="*/ 430 h 458"/>
                <a:gd name="T20" fmla="*/ 372 w 504"/>
                <a:gd name="T21" fmla="*/ 418 h 458"/>
                <a:gd name="T22" fmla="*/ 364 w 504"/>
                <a:gd name="T23" fmla="*/ 412 h 458"/>
                <a:gd name="T24" fmla="*/ 368 w 504"/>
                <a:gd name="T25" fmla="*/ 392 h 458"/>
                <a:gd name="T26" fmla="*/ 356 w 504"/>
                <a:gd name="T27" fmla="*/ 382 h 458"/>
                <a:gd name="T28" fmla="*/ 364 w 504"/>
                <a:gd name="T29" fmla="*/ 378 h 458"/>
                <a:gd name="T30" fmla="*/ 364 w 504"/>
                <a:gd name="T31" fmla="*/ 372 h 458"/>
                <a:gd name="T32" fmla="*/ 356 w 504"/>
                <a:gd name="T33" fmla="*/ 366 h 458"/>
                <a:gd name="T34" fmla="*/ 372 w 504"/>
                <a:gd name="T35" fmla="*/ 350 h 458"/>
                <a:gd name="T36" fmla="*/ 376 w 504"/>
                <a:gd name="T37" fmla="*/ 332 h 458"/>
                <a:gd name="T38" fmla="*/ 370 w 504"/>
                <a:gd name="T39" fmla="*/ 326 h 458"/>
                <a:gd name="T40" fmla="*/ 390 w 504"/>
                <a:gd name="T41" fmla="*/ 318 h 458"/>
                <a:gd name="T42" fmla="*/ 390 w 504"/>
                <a:gd name="T43" fmla="*/ 310 h 458"/>
                <a:gd name="T44" fmla="*/ 382 w 504"/>
                <a:gd name="T45" fmla="*/ 304 h 458"/>
                <a:gd name="T46" fmla="*/ 392 w 504"/>
                <a:gd name="T47" fmla="*/ 298 h 458"/>
                <a:gd name="T48" fmla="*/ 394 w 504"/>
                <a:gd name="T49" fmla="*/ 288 h 458"/>
                <a:gd name="T50" fmla="*/ 400 w 504"/>
                <a:gd name="T51" fmla="*/ 288 h 458"/>
                <a:gd name="T52" fmla="*/ 400 w 504"/>
                <a:gd name="T53" fmla="*/ 276 h 458"/>
                <a:gd name="T54" fmla="*/ 420 w 504"/>
                <a:gd name="T55" fmla="*/ 268 h 458"/>
                <a:gd name="T56" fmla="*/ 416 w 504"/>
                <a:gd name="T57" fmla="*/ 242 h 458"/>
                <a:gd name="T58" fmla="*/ 420 w 504"/>
                <a:gd name="T59" fmla="*/ 228 h 458"/>
                <a:gd name="T60" fmla="*/ 430 w 504"/>
                <a:gd name="T61" fmla="*/ 228 h 458"/>
                <a:gd name="T62" fmla="*/ 430 w 504"/>
                <a:gd name="T63" fmla="*/ 218 h 458"/>
                <a:gd name="T64" fmla="*/ 448 w 504"/>
                <a:gd name="T65" fmla="*/ 204 h 458"/>
                <a:gd name="T66" fmla="*/ 444 w 504"/>
                <a:gd name="T67" fmla="*/ 192 h 458"/>
                <a:gd name="T68" fmla="*/ 454 w 504"/>
                <a:gd name="T69" fmla="*/ 186 h 458"/>
                <a:gd name="T70" fmla="*/ 456 w 504"/>
                <a:gd name="T71" fmla="*/ 178 h 458"/>
                <a:gd name="T72" fmla="*/ 466 w 504"/>
                <a:gd name="T73" fmla="*/ 176 h 458"/>
                <a:gd name="T74" fmla="*/ 462 w 504"/>
                <a:gd name="T75" fmla="*/ 148 h 458"/>
                <a:gd name="T76" fmla="*/ 472 w 504"/>
                <a:gd name="T77" fmla="*/ 126 h 458"/>
                <a:gd name="T78" fmla="*/ 480 w 504"/>
                <a:gd name="T79" fmla="*/ 124 h 458"/>
                <a:gd name="T80" fmla="*/ 476 w 504"/>
                <a:gd name="T81" fmla="*/ 116 h 458"/>
                <a:gd name="T82" fmla="*/ 482 w 504"/>
                <a:gd name="T83" fmla="*/ 110 h 458"/>
                <a:gd name="T84" fmla="*/ 476 w 504"/>
                <a:gd name="T85" fmla="*/ 100 h 458"/>
                <a:gd name="T86" fmla="*/ 496 w 504"/>
                <a:gd name="T87" fmla="*/ 88 h 458"/>
                <a:gd name="T88" fmla="*/ 498 w 504"/>
                <a:gd name="T89" fmla="*/ 84 h 458"/>
                <a:gd name="T90" fmla="*/ 492 w 504"/>
                <a:gd name="T91" fmla="*/ 78 h 458"/>
                <a:gd name="T92" fmla="*/ 504 w 504"/>
                <a:gd name="T93" fmla="*/ 76 h 458"/>
                <a:gd name="T94" fmla="*/ 496 w 504"/>
                <a:gd name="T95" fmla="*/ 64 h 458"/>
                <a:gd name="T96" fmla="*/ 430 w 504"/>
                <a:gd name="T97" fmla="*/ 66 h 458"/>
                <a:gd name="T98" fmla="*/ 460 w 504"/>
                <a:gd name="T99" fmla="*/ 28 h 458"/>
                <a:gd name="T100" fmla="*/ 460 w 504"/>
                <a:gd name="T101" fmla="*/ 18 h 458"/>
                <a:gd name="T102" fmla="*/ 450 w 504"/>
                <a:gd name="T103" fmla="*/ 0 h 458"/>
                <a:gd name="T104" fmla="*/ 364 w 504"/>
                <a:gd name="T105" fmla="*/ 4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04" h="458">
                  <a:moveTo>
                    <a:pt x="364" y="4"/>
                  </a:moveTo>
                  <a:lnTo>
                    <a:pt x="0" y="14"/>
                  </a:lnTo>
                  <a:lnTo>
                    <a:pt x="16" y="378"/>
                  </a:lnTo>
                  <a:lnTo>
                    <a:pt x="24" y="388"/>
                  </a:lnTo>
                  <a:lnTo>
                    <a:pt x="46" y="384"/>
                  </a:lnTo>
                  <a:lnTo>
                    <a:pt x="60" y="390"/>
                  </a:lnTo>
                  <a:lnTo>
                    <a:pt x="62" y="458"/>
                  </a:lnTo>
                  <a:lnTo>
                    <a:pt x="368" y="450"/>
                  </a:lnTo>
                  <a:lnTo>
                    <a:pt x="366" y="436"/>
                  </a:lnTo>
                  <a:lnTo>
                    <a:pt x="372" y="430"/>
                  </a:lnTo>
                  <a:lnTo>
                    <a:pt x="372" y="418"/>
                  </a:lnTo>
                  <a:lnTo>
                    <a:pt x="364" y="412"/>
                  </a:lnTo>
                  <a:lnTo>
                    <a:pt x="368" y="392"/>
                  </a:lnTo>
                  <a:lnTo>
                    <a:pt x="356" y="382"/>
                  </a:lnTo>
                  <a:lnTo>
                    <a:pt x="364" y="378"/>
                  </a:lnTo>
                  <a:lnTo>
                    <a:pt x="364" y="372"/>
                  </a:lnTo>
                  <a:lnTo>
                    <a:pt x="356" y="366"/>
                  </a:lnTo>
                  <a:lnTo>
                    <a:pt x="372" y="350"/>
                  </a:lnTo>
                  <a:lnTo>
                    <a:pt x="376" y="332"/>
                  </a:lnTo>
                  <a:lnTo>
                    <a:pt x="370" y="326"/>
                  </a:lnTo>
                  <a:lnTo>
                    <a:pt x="390" y="318"/>
                  </a:lnTo>
                  <a:lnTo>
                    <a:pt x="390" y="310"/>
                  </a:lnTo>
                  <a:lnTo>
                    <a:pt x="382" y="304"/>
                  </a:lnTo>
                  <a:lnTo>
                    <a:pt x="392" y="298"/>
                  </a:lnTo>
                  <a:lnTo>
                    <a:pt x="394" y="288"/>
                  </a:lnTo>
                  <a:lnTo>
                    <a:pt x="400" y="288"/>
                  </a:lnTo>
                  <a:lnTo>
                    <a:pt x="400" y="276"/>
                  </a:lnTo>
                  <a:lnTo>
                    <a:pt x="420" y="268"/>
                  </a:lnTo>
                  <a:lnTo>
                    <a:pt x="416" y="242"/>
                  </a:lnTo>
                  <a:lnTo>
                    <a:pt x="420" y="228"/>
                  </a:lnTo>
                  <a:lnTo>
                    <a:pt x="430" y="228"/>
                  </a:lnTo>
                  <a:lnTo>
                    <a:pt x="430" y="218"/>
                  </a:lnTo>
                  <a:lnTo>
                    <a:pt x="448" y="204"/>
                  </a:lnTo>
                  <a:lnTo>
                    <a:pt x="444" y="192"/>
                  </a:lnTo>
                  <a:lnTo>
                    <a:pt x="454" y="186"/>
                  </a:lnTo>
                  <a:lnTo>
                    <a:pt x="456" y="178"/>
                  </a:lnTo>
                  <a:lnTo>
                    <a:pt x="466" y="176"/>
                  </a:lnTo>
                  <a:lnTo>
                    <a:pt x="462" y="148"/>
                  </a:lnTo>
                  <a:lnTo>
                    <a:pt x="472" y="126"/>
                  </a:lnTo>
                  <a:lnTo>
                    <a:pt x="480" y="124"/>
                  </a:lnTo>
                  <a:lnTo>
                    <a:pt x="476" y="116"/>
                  </a:lnTo>
                  <a:lnTo>
                    <a:pt x="482" y="110"/>
                  </a:lnTo>
                  <a:lnTo>
                    <a:pt x="476" y="100"/>
                  </a:lnTo>
                  <a:lnTo>
                    <a:pt x="496" y="88"/>
                  </a:lnTo>
                  <a:lnTo>
                    <a:pt x="498" y="84"/>
                  </a:lnTo>
                  <a:lnTo>
                    <a:pt x="492" y="78"/>
                  </a:lnTo>
                  <a:lnTo>
                    <a:pt x="504" y="76"/>
                  </a:lnTo>
                  <a:lnTo>
                    <a:pt x="496" y="64"/>
                  </a:lnTo>
                  <a:lnTo>
                    <a:pt x="430" y="66"/>
                  </a:lnTo>
                  <a:lnTo>
                    <a:pt x="460" y="28"/>
                  </a:lnTo>
                  <a:lnTo>
                    <a:pt x="460" y="18"/>
                  </a:lnTo>
                  <a:lnTo>
                    <a:pt x="450" y="0"/>
                  </a:lnTo>
                  <a:lnTo>
                    <a:pt x="364" y="4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7" name="Freeform 200"/>
            <p:cNvSpPr>
              <a:spLocks/>
            </p:cNvSpPr>
            <p:nvPr/>
          </p:nvSpPr>
          <p:spPr bwMode="auto">
            <a:xfrm>
              <a:off x="3876676" y="2531884"/>
              <a:ext cx="884635" cy="486966"/>
            </a:xfrm>
            <a:custGeom>
              <a:avLst/>
              <a:gdLst>
                <a:gd name="T0" fmla="*/ 645 w 743"/>
                <a:gd name="T1" fmla="*/ 24 h 409"/>
                <a:gd name="T2" fmla="*/ 28 w 743"/>
                <a:gd name="T3" fmla="*/ 0 h 409"/>
                <a:gd name="T4" fmla="*/ 0 w 743"/>
                <a:gd name="T5" fmla="*/ 383 h 409"/>
                <a:gd name="T6" fmla="*/ 743 w 743"/>
                <a:gd name="T7" fmla="*/ 409 h 409"/>
                <a:gd name="T8" fmla="*/ 741 w 743"/>
                <a:gd name="T9" fmla="*/ 136 h 409"/>
                <a:gd name="T10" fmla="*/ 721 w 743"/>
                <a:gd name="T11" fmla="*/ 130 h 409"/>
                <a:gd name="T12" fmla="*/ 713 w 743"/>
                <a:gd name="T13" fmla="*/ 108 h 409"/>
                <a:gd name="T14" fmla="*/ 693 w 743"/>
                <a:gd name="T15" fmla="*/ 86 h 409"/>
                <a:gd name="T16" fmla="*/ 707 w 743"/>
                <a:gd name="T17" fmla="*/ 62 h 409"/>
                <a:gd name="T18" fmla="*/ 717 w 743"/>
                <a:gd name="T19" fmla="*/ 62 h 409"/>
                <a:gd name="T20" fmla="*/ 709 w 743"/>
                <a:gd name="T21" fmla="*/ 42 h 409"/>
                <a:gd name="T22" fmla="*/ 693 w 743"/>
                <a:gd name="T23" fmla="*/ 46 h 409"/>
                <a:gd name="T24" fmla="*/ 663 w 743"/>
                <a:gd name="T25" fmla="*/ 24 h 409"/>
                <a:gd name="T26" fmla="*/ 645 w 743"/>
                <a:gd name="T27" fmla="*/ 24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3" h="409">
                  <a:moveTo>
                    <a:pt x="645" y="24"/>
                  </a:moveTo>
                  <a:lnTo>
                    <a:pt x="28" y="0"/>
                  </a:lnTo>
                  <a:lnTo>
                    <a:pt x="0" y="383"/>
                  </a:lnTo>
                  <a:lnTo>
                    <a:pt x="743" y="409"/>
                  </a:lnTo>
                  <a:lnTo>
                    <a:pt x="741" y="136"/>
                  </a:lnTo>
                  <a:lnTo>
                    <a:pt x="721" y="130"/>
                  </a:lnTo>
                  <a:lnTo>
                    <a:pt x="713" y="108"/>
                  </a:lnTo>
                  <a:lnTo>
                    <a:pt x="693" y="86"/>
                  </a:lnTo>
                  <a:lnTo>
                    <a:pt x="707" y="62"/>
                  </a:lnTo>
                  <a:lnTo>
                    <a:pt x="717" y="62"/>
                  </a:lnTo>
                  <a:lnTo>
                    <a:pt x="709" y="42"/>
                  </a:lnTo>
                  <a:lnTo>
                    <a:pt x="693" y="46"/>
                  </a:lnTo>
                  <a:lnTo>
                    <a:pt x="663" y="24"/>
                  </a:lnTo>
                  <a:lnTo>
                    <a:pt x="645" y="24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8" name="Freeform 201"/>
            <p:cNvSpPr>
              <a:spLocks/>
            </p:cNvSpPr>
            <p:nvPr/>
          </p:nvSpPr>
          <p:spPr bwMode="auto">
            <a:xfrm>
              <a:off x="4533900" y="2027059"/>
              <a:ext cx="722710" cy="476250"/>
            </a:xfrm>
            <a:custGeom>
              <a:avLst/>
              <a:gdLst>
                <a:gd name="T0" fmla="*/ 499 w 607"/>
                <a:gd name="T1" fmla="*/ 0 h 400"/>
                <a:gd name="T2" fmla="*/ 551 w 607"/>
                <a:gd name="T3" fmla="*/ 106 h 400"/>
                <a:gd name="T4" fmla="*/ 557 w 607"/>
                <a:gd name="T5" fmla="*/ 130 h 400"/>
                <a:gd name="T6" fmla="*/ 581 w 607"/>
                <a:gd name="T7" fmla="*/ 156 h 400"/>
                <a:gd name="T8" fmla="*/ 607 w 607"/>
                <a:gd name="T9" fmla="*/ 188 h 400"/>
                <a:gd name="T10" fmla="*/ 593 w 607"/>
                <a:gd name="T11" fmla="*/ 220 h 400"/>
                <a:gd name="T12" fmla="*/ 559 w 607"/>
                <a:gd name="T13" fmla="*/ 258 h 400"/>
                <a:gd name="T14" fmla="*/ 521 w 607"/>
                <a:gd name="T15" fmla="*/ 288 h 400"/>
                <a:gd name="T16" fmla="*/ 537 w 607"/>
                <a:gd name="T17" fmla="*/ 322 h 400"/>
                <a:gd name="T18" fmla="*/ 521 w 607"/>
                <a:gd name="T19" fmla="*/ 360 h 400"/>
                <a:gd name="T20" fmla="*/ 499 w 607"/>
                <a:gd name="T21" fmla="*/ 394 h 400"/>
                <a:gd name="T22" fmla="*/ 463 w 607"/>
                <a:gd name="T23" fmla="*/ 370 h 400"/>
                <a:gd name="T24" fmla="*/ 77 w 607"/>
                <a:gd name="T25" fmla="*/ 368 h 400"/>
                <a:gd name="T26" fmla="*/ 73 w 607"/>
                <a:gd name="T27" fmla="*/ 340 h 400"/>
                <a:gd name="T28" fmla="*/ 71 w 607"/>
                <a:gd name="T29" fmla="*/ 302 h 400"/>
                <a:gd name="T30" fmla="*/ 69 w 607"/>
                <a:gd name="T31" fmla="*/ 286 h 400"/>
                <a:gd name="T32" fmla="*/ 65 w 607"/>
                <a:gd name="T33" fmla="*/ 266 h 400"/>
                <a:gd name="T34" fmla="*/ 57 w 607"/>
                <a:gd name="T35" fmla="*/ 254 h 400"/>
                <a:gd name="T36" fmla="*/ 47 w 607"/>
                <a:gd name="T37" fmla="*/ 238 h 400"/>
                <a:gd name="T38" fmla="*/ 43 w 607"/>
                <a:gd name="T39" fmla="*/ 210 h 400"/>
                <a:gd name="T40" fmla="*/ 35 w 607"/>
                <a:gd name="T41" fmla="*/ 192 h 400"/>
                <a:gd name="T42" fmla="*/ 27 w 607"/>
                <a:gd name="T43" fmla="*/ 174 h 400"/>
                <a:gd name="T44" fmla="*/ 21 w 607"/>
                <a:gd name="T45" fmla="*/ 150 h 400"/>
                <a:gd name="T46" fmla="*/ 14 w 607"/>
                <a:gd name="T47" fmla="*/ 132 h 400"/>
                <a:gd name="T48" fmla="*/ 10 w 607"/>
                <a:gd name="T49" fmla="*/ 118 h 400"/>
                <a:gd name="T50" fmla="*/ 0 w 607"/>
                <a:gd name="T51" fmla="*/ 102 h 400"/>
                <a:gd name="T52" fmla="*/ 14 w 607"/>
                <a:gd name="T53" fmla="*/ 70 h 400"/>
                <a:gd name="T54" fmla="*/ 16 w 607"/>
                <a:gd name="T55" fmla="*/ 42 h 400"/>
                <a:gd name="T56" fmla="*/ 10 w 607"/>
                <a:gd name="T57" fmla="*/ 38 h 400"/>
                <a:gd name="T58" fmla="*/ 12 w 607"/>
                <a:gd name="T59" fmla="*/ 32 h 400"/>
                <a:gd name="T60" fmla="*/ 6 w 607"/>
                <a:gd name="T61" fmla="*/ 14 h 400"/>
                <a:gd name="T62" fmla="*/ 47 w 607"/>
                <a:gd name="T63" fmla="*/ 6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7" h="400">
                  <a:moveTo>
                    <a:pt x="47" y="6"/>
                  </a:moveTo>
                  <a:lnTo>
                    <a:pt x="499" y="0"/>
                  </a:lnTo>
                  <a:lnTo>
                    <a:pt x="519" y="96"/>
                  </a:lnTo>
                  <a:lnTo>
                    <a:pt x="551" y="106"/>
                  </a:lnTo>
                  <a:lnTo>
                    <a:pt x="557" y="118"/>
                  </a:lnTo>
                  <a:lnTo>
                    <a:pt x="557" y="130"/>
                  </a:lnTo>
                  <a:lnTo>
                    <a:pt x="577" y="142"/>
                  </a:lnTo>
                  <a:lnTo>
                    <a:pt x="581" y="156"/>
                  </a:lnTo>
                  <a:lnTo>
                    <a:pt x="603" y="172"/>
                  </a:lnTo>
                  <a:lnTo>
                    <a:pt x="607" y="188"/>
                  </a:lnTo>
                  <a:lnTo>
                    <a:pt x="603" y="210"/>
                  </a:lnTo>
                  <a:lnTo>
                    <a:pt x="593" y="220"/>
                  </a:lnTo>
                  <a:lnTo>
                    <a:pt x="589" y="240"/>
                  </a:lnTo>
                  <a:lnTo>
                    <a:pt x="559" y="258"/>
                  </a:lnTo>
                  <a:lnTo>
                    <a:pt x="525" y="266"/>
                  </a:lnTo>
                  <a:lnTo>
                    <a:pt x="521" y="288"/>
                  </a:lnTo>
                  <a:lnTo>
                    <a:pt x="535" y="304"/>
                  </a:lnTo>
                  <a:lnTo>
                    <a:pt x="537" y="322"/>
                  </a:lnTo>
                  <a:lnTo>
                    <a:pt x="525" y="338"/>
                  </a:lnTo>
                  <a:lnTo>
                    <a:pt x="521" y="360"/>
                  </a:lnTo>
                  <a:lnTo>
                    <a:pt x="495" y="374"/>
                  </a:lnTo>
                  <a:lnTo>
                    <a:pt x="499" y="394"/>
                  </a:lnTo>
                  <a:lnTo>
                    <a:pt x="491" y="400"/>
                  </a:lnTo>
                  <a:lnTo>
                    <a:pt x="463" y="370"/>
                  </a:lnTo>
                  <a:lnTo>
                    <a:pt x="79" y="376"/>
                  </a:lnTo>
                  <a:lnTo>
                    <a:pt x="77" y="368"/>
                  </a:lnTo>
                  <a:lnTo>
                    <a:pt x="69" y="360"/>
                  </a:lnTo>
                  <a:lnTo>
                    <a:pt x="73" y="340"/>
                  </a:lnTo>
                  <a:lnTo>
                    <a:pt x="69" y="318"/>
                  </a:lnTo>
                  <a:lnTo>
                    <a:pt x="71" y="302"/>
                  </a:lnTo>
                  <a:lnTo>
                    <a:pt x="63" y="298"/>
                  </a:lnTo>
                  <a:lnTo>
                    <a:pt x="69" y="286"/>
                  </a:lnTo>
                  <a:lnTo>
                    <a:pt x="61" y="282"/>
                  </a:lnTo>
                  <a:lnTo>
                    <a:pt x="65" y="266"/>
                  </a:lnTo>
                  <a:lnTo>
                    <a:pt x="57" y="264"/>
                  </a:lnTo>
                  <a:lnTo>
                    <a:pt x="57" y="254"/>
                  </a:lnTo>
                  <a:lnTo>
                    <a:pt x="49" y="256"/>
                  </a:lnTo>
                  <a:lnTo>
                    <a:pt x="47" y="238"/>
                  </a:lnTo>
                  <a:lnTo>
                    <a:pt x="51" y="224"/>
                  </a:lnTo>
                  <a:lnTo>
                    <a:pt x="43" y="210"/>
                  </a:lnTo>
                  <a:lnTo>
                    <a:pt x="45" y="200"/>
                  </a:lnTo>
                  <a:lnTo>
                    <a:pt x="35" y="192"/>
                  </a:lnTo>
                  <a:lnTo>
                    <a:pt x="33" y="184"/>
                  </a:lnTo>
                  <a:lnTo>
                    <a:pt x="27" y="174"/>
                  </a:lnTo>
                  <a:lnTo>
                    <a:pt x="27" y="162"/>
                  </a:lnTo>
                  <a:lnTo>
                    <a:pt x="21" y="150"/>
                  </a:lnTo>
                  <a:lnTo>
                    <a:pt x="21" y="134"/>
                  </a:lnTo>
                  <a:lnTo>
                    <a:pt x="14" y="132"/>
                  </a:lnTo>
                  <a:lnTo>
                    <a:pt x="14" y="126"/>
                  </a:lnTo>
                  <a:lnTo>
                    <a:pt x="10" y="118"/>
                  </a:lnTo>
                  <a:lnTo>
                    <a:pt x="12" y="114"/>
                  </a:lnTo>
                  <a:lnTo>
                    <a:pt x="0" y="102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8" y="54"/>
                  </a:lnTo>
                  <a:lnTo>
                    <a:pt x="16" y="42"/>
                  </a:lnTo>
                  <a:lnTo>
                    <a:pt x="8" y="40"/>
                  </a:lnTo>
                  <a:lnTo>
                    <a:pt x="10" y="38"/>
                  </a:lnTo>
                  <a:lnTo>
                    <a:pt x="6" y="34"/>
                  </a:lnTo>
                  <a:lnTo>
                    <a:pt x="12" y="32"/>
                  </a:lnTo>
                  <a:lnTo>
                    <a:pt x="12" y="22"/>
                  </a:lnTo>
                  <a:lnTo>
                    <a:pt x="6" y="14"/>
                  </a:lnTo>
                  <a:lnTo>
                    <a:pt x="6" y="6"/>
                  </a:lnTo>
                  <a:lnTo>
                    <a:pt x="47" y="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9" name="Freeform 202"/>
            <p:cNvSpPr>
              <a:spLocks/>
            </p:cNvSpPr>
            <p:nvPr/>
          </p:nvSpPr>
          <p:spPr bwMode="auto">
            <a:xfrm>
              <a:off x="2914650" y="2895026"/>
              <a:ext cx="845344" cy="862013"/>
            </a:xfrm>
            <a:custGeom>
              <a:avLst/>
              <a:gdLst>
                <a:gd name="T0" fmla="*/ 270 w 710"/>
                <a:gd name="T1" fmla="*/ 686 h 724"/>
                <a:gd name="T2" fmla="*/ 266 w 710"/>
                <a:gd name="T3" fmla="*/ 664 h 724"/>
                <a:gd name="T4" fmla="*/ 650 w 710"/>
                <a:gd name="T5" fmla="*/ 704 h 724"/>
                <a:gd name="T6" fmla="*/ 698 w 710"/>
                <a:gd name="T7" fmla="*/ 134 h 724"/>
                <a:gd name="T8" fmla="*/ 704 w 710"/>
                <a:gd name="T9" fmla="*/ 134 h 724"/>
                <a:gd name="T10" fmla="*/ 710 w 710"/>
                <a:gd name="T11" fmla="*/ 70 h 724"/>
                <a:gd name="T12" fmla="*/ 600 w 710"/>
                <a:gd name="T13" fmla="*/ 60 h 724"/>
                <a:gd name="T14" fmla="*/ 106 w 710"/>
                <a:gd name="T15" fmla="*/ 0 h 724"/>
                <a:gd name="T16" fmla="*/ 0 w 710"/>
                <a:gd name="T17" fmla="*/ 712 h 724"/>
                <a:gd name="T18" fmla="*/ 86 w 710"/>
                <a:gd name="T19" fmla="*/ 724 h 724"/>
                <a:gd name="T20" fmla="*/ 94 w 710"/>
                <a:gd name="T21" fmla="*/ 664 h 724"/>
                <a:gd name="T22" fmla="*/ 270 w 710"/>
                <a:gd name="T23" fmla="*/ 686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0" h="724">
                  <a:moveTo>
                    <a:pt x="270" y="686"/>
                  </a:moveTo>
                  <a:lnTo>
                    <a:pt x="266" y="664"/>
                  </a:lnTo>
                  <a:lnTo>
                    <a:pt x="650" y="704"/>
                  </a:lnTo>
                  <a:lnTo>
                    <a:pt x="698" y="134"/>
                  </a:lnTo>
                  <a:lnTo>
                    <a:pt x="704" y="134"/>
                  </a:lnTo>
                  <a:lnTo>
                    <a:pt x="710" y="70"/>
                  </a:lnTo>
                  <a:lnTo>
                    <a:pt x="600" y="60"/>
                  </a:lnTo>
                  <a:lnTo>
                    <a:pt x="106" y="0"/>
                  </a:lnTo>
                  <a:lnTo>
                    <a:pt x="0" y="712"/>
                  </a:lnTo>
                  <a:lnTo>
                    <a:pt x="86" y="724"/>
                  </a:lnTo>
                  <a:lnTo>
                    <a:pt x="94" y="664"/>
                  </a:lnTo>
                  <a:lnTo>
                    <a:pt x="270" y="68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0" name="Freeform 203"/>
            <p:cNvSpPr>
              <a:spLocks/>
            </p:cNvSpPr>
            <p:nvPr/>
          </p:nvSpPr>
          <p:spPr bwMode="auto">
            <a:xfrm>
              <a:off x="1626395" y="3066476"/>
              <a:ext cx="28575" cy="21431"/>
            </a:xfrm>
            <a:custGeom>
              <a:avLst/>
              <a:gdLst>
                <a:gd name="T0" fmla="*/ 4 w 24"/>
                <a:gd name="T1" fmla="*/ 4 h 18"/>
                <a:gd name="T2" fmla="*/ 0 w 24"/>
                <a:gd name="T3" fmla="*/ 0 h 18"/>
                <a:gd name="T4" fmla="*/ 18 w 24"/>
                <a:gd name="T5" fmla="*/ 0 h 18"/>
                <a:gd name="T6" fmla="*/ 24 w 24"/>
                <a:gd name="T7" fmla="*/ 10 h 18"/>
                <a:gd name="T8" fmla="*/ 24 w 24"/>
                <a:gd name="T9" fmla="*/ 16 h 18"/>
                <a:gd name="T10" fmla="*/ 20 w 24"/>
                <a:gd name="T11" fmla="*/ 18 h 18"/>
                <a:gd name="T12" fmla="*/ 12 w 24"/>
                <a:gd name="T13" fmla="*/ 16 h 18"/>
                <a:gd name="T14" fmla="*/ 4 w 24"/>
                <a:gd name="T15" fmla="*/ 4 h 18"/>
                <a:gd name="T16" fmla="*/ 12 w 24"/>
                <a:gd name="T17" fmla="*/ 16 h 18"/>
                <a:gd name="T18" fmla="*/ 4 w 24"/>
                <a:gd name="T19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18">
                  <a:moveTo>
                    <a:pt x="4" y="4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24" y="10"/>
                  </a:lnTo>
                  <a:lnTo>
                    <a:pt x="24" y="16"/>
                  </a:lnTo>
                  <a:lnTo>
                    <a:pt x="20" y="18"/>
                  </a:lnTo>
                  <a:lnTo>
                    <a:pt x="12" y="16"/>
                  </a:lnTo>
                  <a:lnTo>
                    <a:pt x="4" y="4"/>
                  </a:lnTo>
                  <a:lnTo>
                    <a:pt x="12" y="16"/>
                  </a:lnTo>
                  <a:lnTo>
                    <a:pt x="4" y="4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1" name="Freeform 204"/>
            <p:cNvSpPr>
              <a:spLocks/>
            </p:cNvSpPr>
            <p:nvPr/>
          </p:nvSpPr>
          <p:spPr bwMode="auto">
            <a:xfrm>
              <a:off x="1674019" y="3066476"/>
              <a:ext cx="38100" cy="26194"/>
            </a:xfrm>
            <a:custGeom>
              <a:avLst/>
              <a:gdLst>
                <a:gd name="T0" fmla="*/ 0 w 32"/>
                <a:gd name="T1" fmla="*/ 0 h 22"/>
                <a:gd name="T2" fmla="*/ 14 w 32"/>
                <a:gd name="T3" fmla="*/ 14 h 22"/>
                <a:gd name="T4" fmla="*/ 32 w 32"/>
                <a:gd name="T5" fmla="*/ 16 h 22"/>
                <a:gd name="T6" fmla="*/ 30 w 32"/>
                <a:gd name="T7" fmla="*/ 20 h 22"/>
                <a:gd name="T8" fmla="*/ 24 w 32"/>
                <a:gd name="T9" fmla="*/ 20 h 22"/>
                <a:gd name="T10" fmla="*/ 8 w 32"/>
                <a:gd name="T11" fmla="*/ 22 h 22"/>
                <a:gd name="T12" fmla="*/ 0 w 32"/>
                <a:gd name="T13" fmla="*/ 14 h 22"/>
                <a:gd name="T14" fmla="*/ 0 w 32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22">
                  <a:moveTo>
                    <a:pt x="0" y="0"/>
                  </a:moveTo>
                  <a:lnTo>
                    <a:pt x="14" y="14"/>
                  </a:lnTo>
                  <a:lnTo>
                    <a:pt x="32" y="16"/>
                  </a:lnTo>
                  <a:lnTo>
                    <a:pt x="30" y="20"/>
                  </a:lnTo>
                  <a:lnTo>
                    <a:pt x="24" y="20"/>
                  </a:lnTo>
                  <a:lnTo>
                    <a:pt x="8" y="22"/>
                  </a:lnTo>
                  <a:lnTo>
                    <a:pt x="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2" name="Freeform 205"/>
            <p:cNvSpPr>
              <a:spLocks/>
            </p:cNvSpPr>
            <p:nvPr/>
          </p:nvSpPr>
          <p:spPr bwMode="auto">
            <a:xfrm>
              <a:off x="1812131" y="3204588"/>
              <a:ext cx="19050" cy="26194"/>
            </a:xfrm>
            <a:custGeom>
              <a:avLst/>
              <a:gdLst>
                <a:gd name="T0" fmla="*/ 4 w 16"/>
                <a:gd name="T1" fmla="*/ 0 h 22"/>
                <a:gd name="T2" fmla="*/ 0 w 16"/>
                <a:gd name="T3" fmla="*/ 0 h 22"/>
                <a:gd name="T4" fmla="*/ 4 w 16"/>
                <a:gd name="T5" fmla="*/ 0 h 22"/>
                <a:gd name="T6" fmla="*/ 8 w 16"/>
                <a:gd name="T7" fmla="*/ 8 h 22"/>
                <a:gd name="T8" fmla="*/ 16 w 16"/>
                <a:gd name="T9" fmla="*/ 10 h 22"/>
                <a:gd name="T10" fmla="*/ 16 w 16"/>
                <a:gd name="T11" fmla="*/ 20 h 22"/>
                <a:gd name="T12" fmla="*/ 14 w 16"/>
                <a:gd name="T13" fmla="*/ 22 h 22"/>
                <a:gd name="T14" fmla="*/ 10 w 16"/>
                <a:gd name="T15" fmla="*/ 20 h 22"/>
                <a:gd name="T16" fmla="*/ 10 w 16"/>
                <a:gd name="T17" fmla="*/ 10 h 22"/>
                <a:gd name="T18" fmla="*/ 6 w 16"/>
                <a:gd name="T19" fmla="*/ 6 h 22"/>
                <a:gd name="T20" fmla="*/ 4 w 16"/>
                <a:gd name="T2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2">
                  <a:moveTo>
                    <a:pt x="4" y="0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8" y="8"/>
                  </a:lnTo>
                  <a:lnTo>
                    <a:pt x="16" y="10"/>
                  </a:lnTo>
                  <a:lnTo>
                    <a:pt x="16" y="20"/>
                  </a:lnTo>
                  <a:lnTo>
                    <a:pt x="14" y="22"/>
                  </a:lnTo>
                  <a:lnTo>
                    <a:pt x="10" y="20"/>
                  </a:lnTo>
                  <a:lnTo>
                    <a:pt x="10" y="10"/>
                  </a:lnTo>
                  <a:lnTo>
                    <a:pt x="6" y="6"/>
                  </a:lnTo>
                  <a:lnTo>
                    <a:pt x="4" y="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3" name="Freeform 206"/>
            <p:cNvSpPr>
              <a:spLocks/>
            </p:cNvSpPr>
            <p:nvPr/>
          </p:nvSpPr>
          <p:spPr bwMode="auto">
            <a:xfrm>
              <a:off x="1788320" y="3259357"/>
              <a:ext cx="26194" cy="42863"/>
            </a:xfrm>
            <a:custGeom>
              <a:avLst/>
              <a:gdLst>
                <a:gd name="T0" fmla="*/ 0 w 22"/>
                <a:gd name="T1" fmla="*/ 2 h 36"/>
                <a:gd name="T2" fmla="*/ 4 w 22"/>
                <a:gd name="T3" fmla="*/ 0 h 36"/>
                <a:gd name="T4" fmla="*/ 2 w 22"/>
                <a:gd name="T5" fmla="*/ 2 h 36"/>
                <a:gd name="T6" fmla="*/ 8 w 22"/>
                <a:gd name="T7" fmla="*/ 22 h 36"/>
                <a:gd name="T8" fmla="*/ 16 w 22"/>
                <a:gd name="T9" fmla="*/ 26 h 36"/>
                <a:gd name="T10" fmla="*/ 22 w 22"/>
                <a:gd name="T11" fmla="*/ 36 h 36"/>
                <a:gd name="T12" fmla="*/ 10 w 22"/>
                <a:gd name="T13" fmla="*/ 36 h 36"/>
                <a:gd name="T14" fmla="*/ 2 w 22"/>
                <a:gd name="T15" fmla="*/ 10 h 36"/>
                <a:gd name="T16" fmla="*/ 0 w 22"/>
                <a:gd name="T17" fmla="*/ 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36">
                  <a:moveTo>
                    <a:pt x="0" y="2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8" y="22"/>
                  </a:lnTo>
                  <a:lnTo>
                    <a:pt x="16" y="26"/>
                  </a:lnTo>
                  <a:lnTo>
                    <a:pt x="22" y="36"/>
                  </a:lnTo>
                  <a:lnTo>
                    <a:pt x="10" y="36"/>
                  </a:lnTo>
                  <a:lnTo>
                    <a:pt x="2" y="1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4" name="Freeform 207"/>
            <p:cNvSpPr>
              <a:spLocks/>
            </p:cNvSpPr>
            <p:nvPr/>
          </p:nvSpPr>
          <p:spPr bwMode="auto">
            <a:xfrm>
              <a:off x="1428750" y="1767504"/>
              <a:ext cx="933450" cy="1651397"/>
            </a:xfrm>
            <a:custGeom>
              <a:avLst/>
              <a:gdLst>
                <a:gd name="T0" fmla="*/ 344 w 784"/>
                <a:gd name="T1" fmla="*/ 478 h 1387"/>
                <a:gd name="T2" fmla="*/ 74 w 784"/>
                <a:gd name="T3" fmla="*/ 0 h 1387"/>
                <a:gd name="T4" fmla="*/ 40 w 784"/>
                <a:gd name="T5" fmla="*/ 148 h 1387"/>
                <a:gd name="T6" fmla="*/ 0 w 784"/>
                <a:gd name="T7" fmla="*/ 200 h 1387"/>
                <a:gd name="T8" fmla="*/ 28 w 784"/>
                <a:gd name="T9" fmla="*/ 294 h 1387"/>
                <a:gd name="T10" fmla="*/ 22 w 784"/>
                <a:gd name="T11" fmla="*/ 312 h 1387"/>
                <a:gd name="T12" fmla="*/ 46 w 784"/>
                <a:gd name="T13" fmla="*/ 480 h 1387"/>
                <a:gd name="T14" fmla="*/ 44 w 784"/>
                <a:gd name="T15" fmla="*/ 510 h 1387"/>
                <a:gd name="T16" fmla="*/ 56 w 784"/>
                <a:gd name="T17" fmla="*/ 532 h 1387"/>
                <a:gd name="T18" fmla="*/ 66 w 784"/>
                <a:gd name="T19" fmla="*/ 544 h 1387"/>
                <a:gd name="T20" fmla="*/ 80 w 784"/>
                <a:gd name="T21" fmla="*/ 544 h 1387"/>
                <a:gd name="T22" fmla="*/ 90 w 784"/>
                <a:gd name="T23" fmla="*/ 516 h 1387"/>
                <a:gd name="T24" fmla="*/ 134 w 784"/>
                <a:gd name="T25" fmla="*/ 538 h 1387"/>
                <a:gd name="T26" fmla="*/ 108 w 784"/>
                <a:gd name="T27" fmla="*/ 542 h 1387"/>
                <a:gd name="T28" fmla="*/ 96 w 784"/>
                <a:gd name="T29" fmla="*/ 562 h 1387"/>
                <a:gd name="T30" fmla="*/ 104 w 784"/>
                <a:gd name="T31" fmla="*/ 608 h 1387"/>
                <a:gd name="T32" fmla="*/ 86 w 784"/>
                <a:gd name="T33" fmla="*/ 566 h 1387"/>
                <a:gd name="T34" fmla="*/ 72 w 784"/>
                <a:gd name="T35" fmla="*/ 576 h 1387"/>
                <a:gd name="T36" fmla="*/ 80 w 784"/>
                <a:gd name="T37" fmla="*/ 668 h 1387"/>
                <a:gd name="T38" fmla="*/ 108 w 784"/>
                <a:gd name="T39" fmla="*/ 700 h 1387"/>
                <a:gd name="T40" fmla="*/ 88 w 784"/>
                <a:gd name="T41" fmla="*/ 726 h 1387"/>
                <a:gd name="T42" fmla="*/ 142 w 784"/>
                <a:gd name="T43" fmla="*/ 889 h 1387"/>
                <a:gd name="T44" fmla="*/ 148 w 784"/>
                <a:gd name="T45" fmla="*/ 917 h 1387"/>
                <a:gd name="T46" fmla="*/ 166 w 784"/>
                <a:gd name="T47" fmla="*/ 945 h 1387"/>
                <a:gd name="T48" fmla="*/ 158 w 784"/>
                <a:gd name="T49" fmla="*/ 961 h 1387"/>
                <a:gd name="T50" fmla="*/ 154 w 784"/>
                <a:gd name="T51" fmla="*/ 1013 h 1387"/>
                <a:gd name="T52" fmla="*/ 218 w 784"/>
                <a:gd name="T53" fmla="*/ 1053 h 1387"/>
                <a:gd name="T54" fmla="*/ 238 w 784"/>
                <a:gd name="T55" fmla="*/ 1055 h 1387"/>
                <a:gd name="T56" fmla="*/ 274 w 784"/>
                <a:gd name="T57" fmla="*/ 1095 h 1387"/>
                <a:gd name="T58" fmla="*/ 312 w 784"/>
                <a:gd name="T59" fmla="*/ 1131 h 1387"/>
                <a:gd name="T60" fmla="*/ 330 w 784"/>
                <a:gd name="T61" fmla="*/ 1123 h 1387"/>
                <a:gd name="T62" fmla="*/ 346 w 784"/>
                <a:gd name="T63" fmla="*/ 1167 h 1387"/>
                <a:gd name="T64" fmla="*/ 372 w 784"/>
                <a:gd name="T65" fmla="*/ 1179 h 1387"/>
                <a:gd name="T66" fmla="*/ 440 w 784"/>
                <a:gd name="T67" fmla="*/ 1289 h 1387"/>
                <a:gd name="T68" fmla="*/ 674 w 784"/>
                <a:gd name="T69" fmla="*/ 1387 h 1387"/>
                <a:gd name="T70" fmla="*/ 700 w 784"/>
                <a:gd name="T71" fmla="*/ 1383 h 1387"/>
                <a:gd name="T72" fmla="*/ 714 w 784"/>
                <a:gd name="T73" fmla="*/ 1353 h 1387"/>
                <a:gd name="T74" fmla="*/ 700 w 784"/>
                <a:gd name="T75" fmla="*/ 1319 h 1387"/>
                <a:gd name="T76" fmla="*/ 698 w 784"/>
                <a:gd name="T77" fmla="*/ 1295 h 1387"/>
                <a:gd name="T78" fmla="*/ 724 w 784"/>
                <a:gd name="T79" fmla="*/ 1279 h 1387"/>
                <a:gd name="T80" fmla="*/ 732 w 784"/>
                <a:gd name="T81" fmla="*/ 1259 h 1387"/>
                <a:gd name="T82" fmla="*/ 746 w 784"/>
                <a:gd name="T83" fmla="*/ 1223 h 1387"/>
                <a:gd name="T84" fmla="*/ 784 w 784"/>
                <a:gd name="T85" fmla="*/ 1199 h 1387"/>
                <a:gd name="T86" fmla="*/ 764 w 784"/>
                <a:gd name="T87" fmla="*/ 1161 h 1387"/>
                <a:gd name="T88" fmla="*/ 750 w 784"/>
                <a:gd name="T89" fmla="*/ 1099 h 1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84" h="1387">
                  <a:moveTo>
                    <a:pt x="674" y="985"/>
                  </a:moveTo>
                  <a:lnTo>
                    <a:pt x="344" y="478"/>
                  </a:lnTo>
                  <a:lnTo>
                    <a:pt x="444" y="108"/>
                  </a:lnTo>
                  <a:lnTo>
                    <a:pt x="74" y="0"/>
                  </a:lnTo>
                  <a:lnTo>
                    <a:pt x="68" y="78"/>
                  </a:lnTo>
                  <a:lnTo>
                    <a:pt x="40" y="148"/>
                  </a:lnTo>
                  <a:lnTo>
                    <a:pt x="6" y="176"/>
                  </a:lnTo>
                  <a:lnTo>
                    <a:pt x="0" y="200"/>
                  </a:lnTo>
                  <a:lnTo>
                    <a:pt x="8" y="214"/>
                  </a:lnTo>
                  <a:lnTo>
                    <a:pt x="28" y="294"/>
                  </a:lnTo>
                  <a:lnTo>
                    <a:pt x="28" y="304"/>
                  </a:lnTo>
                  <a:lnTo>
                    <a:pt x="22" y="312"/>
                  </a:lnTo>
                  <a:lnTo>
                    <a:pt x="10" y="400"/>
                  </a:lnTo>
                  <a:lnTo>
                    <a:pt x="46" y="480"/>
                  </a:lnTo>
                  <a:lnTo>
                    <a:pt x="48" y="496"/>
                  </a:lnTo>
                  <a:lnTo>
                    <a:pt x="44" y="510"/>
                  </a:lnTo>
                  <a:lnTo>
                    <a:pt x="46" y="518"/>
                  </a:lnTo>
                  <a:lnTo>
                    <a:pt x="56" y="532"/>
                  </a:lnTo>
                  <a:lnTo>
                    <a:pt x="66" y="538"/>
                  </a:lnTo>
                  <a:lnTo>
                    <a:pt x="66" y="544"/>
                  </a:lnTo>
                  <a:lnTo>
                    <a:pt x="72" y="548"/>
                  </a:lnTo>
                  <a:lnTo>
                    <a:pt x="80" y="544"/>
                  </a:lnTo>
                  <a:lnTo>
                    <a:pt x="82" y="540"/>
                  </a:lnTo>
                  <a:lnTo>
                    <a:pt x="90" y="516"/>
                  </a:lnTo>
                  <a:lnTo>
                    <a:pt x="114" y="524"/>
                  </a:lnTo>
                  <a:lnTo>
                    <a:pt x="134" y="538"/>
                  </a:lnTo>
                  <a:lnTo>
                    <a:pt x="120" y="542"/>
                  </a:lnTo>
                  <a:lnTo>
                    <a:pt x="108" y="542"/>
                  </a:lnTo>
                  <a:lnTo>
                    <a:pt x="98" y="550"/>
                  </a:lnTo>
                  <a:lnTo>
                    <a:pt x="96" y="562"/>
                  </a:lnTo>
                  <a:lnTo>
                    <a:pt x="104" y="598"/>
                  </a:lnTo>
                  <a:lnTo>
                    <a:pt x="104" y="608"/>
                  </a:lnTo>
                  <a:lnTo>
                    <a:pt x="86" y="578"/>
                  </a:lnTo>
                  <a:lnTo>
                    <a:pt x="86" y="566"/>
                  </a:lnTo>
                  <a:lnTo>
                    <a:pt x="78" y="562"/>
                  </a:lnTo>
                  <a:lnTo>
                    <a:pt x="72" y="576"/>
                  </a:lnTo>
                  <a:lnTo>
                    <a:pt x="70" y="646"/>
                  </a:lnTo>
                  <a:lnTo>
                    <a:pt x="80" y="668"/>
                  </a:lnTo>
                  <a:lnTo>
                    <a:pt x="102" y="680"/>
                  </a:lnTo>
                  <a:lnTo>
                    <a:pt x="108" y="700"/>
                  </a:lnTo>
                  <a:lnTo>
                    <a:pt x="102" y="720"/>
                  </a:lnTo>
                  <a:lnTo>
                    <a:pt x="88" y="726"/>
                  </a:lnTo>
                  <a:lnTo>
                    <a:pt x="82" y="750"/>
                  </a:lnTo>
                  <a:lnTo>
                    <a:pt x="142" y="889"/>
                  </a:lnTo>
                  <a:lnTo>
                    <a:pt x="152" y="897"/>
                  </a:lnTo>
                  <a:lnTo>
                    <a:pt x="148" y="917"/>
                  </a:lnTo>
                  <a:lnTo>
                    <a:pt x="160" y="929"/>
                  </a:lnTo>
                  <a:lnTo>
                    <a:pt x="166" y="945"/>
                  </a:lnTo>
                  <a:lnTo>
                    <a:pt x="166" y="949"/>
                  </a:lnTo>
                  <a:lnTo>
                    <a:pt x="158" y="961"/>
                  </a:lnTo>
                  <a:lnTo>
                    <a:pt x="152" y="1005"/>
                  </a:lnTo>
                  <a:lnTo>
                    <a:pt x="154" y="1013"/>
                  </a:lnTo>
                  <a:lnTo>
                    <a:pt x="198" y="1035"/>
                  </a:lnTo>
                  <a:lnTo>
                    <a:pt x="218" y="1053"/>
                  </a:lnTo>
                  <a:lnTo>
                    <a:pt x="228" y="1051"/>
                  </a:lnTo>
                  <a:lnTo>
                    <a:pt x="238" y="1055"/>
                  </a:lnTo>
                  <a:lnTo>
                    <a:pt x="268" y="1081"/>
                  </a:lnTo>
                  <a:lnTo>
                    <a:pt x="274" y="1095"/>
                  </a:lnTo>
                  <a:lnTo>
                    <a:pt x="308" y="1123"/>
                  </a:lnTo>
                  <a:lnTo>
                    <a:pt x="312" y="1131"/>
                  </a:lnTo>
                  <a:lnTo>
                    <a:pt x="322" y="1121"/>
                  </a:lnTo>
                  <a:lnTo>
                    <a:pt x="330" y="1123"/>
                  </a:lnTo>
                  <a:lnTo>
                    <a:pt x="348" y="1147"/>
                  </a:lnTo>
                  <a:lnTo>
                    <a:pt x="346" y="1167"/>
                  </a:lnTo>
                  <a:lnTo>
                    <a:pt x="348" y="1171"/>
                  </a:lnTo>
                  <a:lnTo>
                    <a:pt x="372" y="1179"/>
                  </a:lnTo>
                  <a:lnTo>
                    <a:pt x="434" y="1269"/>
                  </a:lnTo>
                  <a:lnTo>
                    <a:pt x="440" y="1289"/>
                  </a:lnTo>
                  <a:lnTo>
                    <a:pt x="436" y="1355"/>
                  </a:lnTo>
                  <a:lnTo>
                    <a:pt x="674" y="1387"/>
                  </a:lnTo>
                  <a:lnTo>
                    <a:pt x="686" y="1377"/>
                  </a:lnTo>
                  <a:lnTo>
                    <a:pt x="700" y="1383"/>
                  </a:lnTo>
                  <a:lnTo>
                    <a:pt x="712" y="1367"/>
                  </a:lnTo>
                  <a:lnTo>
                    <a:pt x="714" y="1353"/>
                  </a:lnTo>
                  <a:lnTo>
                    <a:pt x="694" y="1335"/>
                  </a:lnTo>
                  <a:lnTo>
                    <a:pt x="700" y="1319"/>
                  </a:lnTo>
                  <a:lnTo>
                    <a:pt x="696" y="1307"/>
                  </a:lnTo>
                  <a:lnTo>
                    <a:pt x="698" y="1295"/>
                  </a:lnTo>
                  <a:lnTo>
                    <a:pt x="708" y="1295"/>
                  </a:lnTo>
                  <a:lnTo>
                    <a:pt x="724" y="1279"/>
                  </a:lnTo>
                  <a:lnTo>
                    <a:pt x="726" y="1263"/>
                  </a:lnTo>
                  <a:lnTo>
                    <a:pt x="732" y="1259"/>
                  </a:lnTo>
                  <a:lnTo>
                    <a:pt x="734" y="1229"/>
                  </a:lnTo>
                  <a:lnTo>
                    <a:pt x="746" y="1223"/>
                  </a:lnTo>
                  <a:lnTo>
                    <a:pt x="752" y="1213"/>
                  </a:lnTo>
                  <a:lnTo>
                    <a:pt x="784" y="1199"/>
                  </a:lnTo>
                  <a:lnTo>
                    <a:pt x="776" y="1173"/>
                  </a:lnTo>
                  <a:lnTo>
                    <a:pt x="764" y="1161"/>
                  </a:lnTo>
                  <a:lnTo>
                    <a:pt x="748" y="1113"/>
                  </a:lnTo>
                  <a:lnTo>
                    <a:pt x="750" y="1099"/>
                  </a:lnTo>
                  <a:lnTo>
                    <a:pt x="674" y="985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" name="Freeform 209"/>
            <p:cNvSpPr>
              <a:spLocks/>
            </p:cNvSpPr>
            <p:nvPr/>
          </p:nvSpPr>
          <p:spPr bwMode="auto">
            <a:xfrm>
              <a:off x="6325791" y="2036585"/>
              <a:ext cx="692944" cy="445294"/>
            </a:xfrm>
            <a:custGeom>
              <a:avLst/>
              <a:gdLst>
                <a:gd name="T0" fmla="*/ 582 w 582"/>
                <a:gd name="T1" fmla="*/ 216 h 374"/>
                <a:gd name="T2" fmla="*/ 554 w 582"/>
                <a:gd name="T3" fmla="*/ 192 h 374"/>
                <a:gd name="T4" fmla="*/ 546 w 582"/>
                <a:gd name="T5" fmla="*/ 190 h 374"/>
                <a:gd name="T6" fmla="*/ 540 w 582"/>
                <a:gd name="T7" fmla="*/ 176 h 374"/>
                <a:gd name="T8" fmla="*/ 530 w 582"/>
                <a:gd name="T9" fmla="*/ 176 h 374"/>
                <a:gd name="T10" fmla="*/ 524 w 582"/>
                <a:gd name="T11" fmla="*/ 160 h 374"/>
                <a:gd name="T12" fmla="*/ 526 w 582"/>
                <a:gd name="T13" fmla="*/ 162 h 374"/>
                <a:gd name="T14" fmla="*/ 524 w 582"/>
                <a:gd name="T15" fmla="*/ 152 h 374"/>
                <a:gd name="T16" fmla="*/ 530 w 582"/>
                <a:gd name="T17" fmla="*/ 146 h 374"/>
                <a:gd name="T18" fmla="*/ 532 w 582"/>
                <a:gd name="T19" fmla="*/ 134 h 374"/>
                <a:gd name="T20" fmla="*/ 524 w 582"/>
                <a:gd name="T21" fmla="*/ 122 h 374"/>
                <a:gd name="T22" fmla="*/ 534 w 582"/>
                <a:gd name="T23" fmla="*/ 108 h 374"/>
                <a:gd name="T24" fmla="*/ 544 w 582"/>
                <a:gd name="T25" fmla="*/ 80 h 374"/>
                <a:gd name="T26" fmla="*/ 552 w 582"/>
                <a:gd name="T27" fmla="*/ 66 h 374"/>
                <a:gd name="T28" fmla="*/ 548 w 582"/>
                <a:gd name="T29" fmla="*/ 60 h 374"/>
                <a:gd name="T30" fmla="*/ 524 w 582"/>
                <a:gd name="T31" fmla="*/ 56 h 374"/>
                <a:gd name="T32" fmla="*/ 512 w 582"/>
                <a:gd name="T33" fmla="*/ 42 h 374"/>
                <a:gd name="T34" fmla="*/ 510 w 582"/>
                <a:gd name="T35" fmla="*/ 22 h 374"/>
                <a:gd name="T36" fmla="*/ 504 w 582"/>
                <a:gd name="T37" fmla="*/ 20 h 374"/>
                <a:gd name="T38" fmla="*/ 506 w 582"/>
                <a:gd name="T39" fmla="*/ 16 h 374"/>
                <a:gd name="T40" fmla="*/ 488 w 582"/>
                <a:gd name="T41" fmla="*/ 14 h 374"/>
                <a:gd name="T42" fmla="*/ 484 w 582"/>
                <a:gd name="T43" fmla="*/ 4 h 374"/>
                <a:gd name="T44" fmla="*/ 472 w 582"/>
                <a:gd name="T45" fmla="*/ 0 h 374"/>
                <a:gd name="T46" fmla="*/ 70 w 582"/>
                <a:gd name="T47" fmla="*/ 76 h 374"/>
                <a:gd name="T48" fmla="*/ 64 w 582"/>
                <a:gd name="T49" fmla="*/ 42 h 374"/>
                <a:gd name="T50" fmla="*/ 50 w 582"/>
                <a:gd name="T51" fmla="*/ 54 h 374"/>
                <a:gd name="T52" fmla="*/ 32 w 582"/>
                <a:gd name="T53" fmla="*/ 60 h 374"/>
                <a:gd name="T54" fmla="*/ 0 w 582"/>
                <a:gd name="T55" fmla="*/ 90 h 374"/>
                <a:gd name="T56" fmla="*/ 44 w 582"/>
                <a:gd name="T57" fmla="*/ 374 h 374"/>
                <a:gd name="T58" fmla="*/ 144 w 582"/>
                <a:gd name="T59" fmla="*/ 358 h 374"/>
                <a:gd name="T60" fmla="*/ 494 w 582"/>
                <a:gd name="T61" fmla="*/ 292 h 374"/>
                <a:gd name="T62" fmla="*/ 504 w 582"/>
                <a:gd name="T63" fmla="*/ 274 h 374"/>
                <a:gd name="T64" fmla="*/ 516 w 582"/>
                <a:gd name="T65" fmla="*/ 272 h 374"/>
                <a:gd name="T66" fmla="*/ 530 w 582"/>
                <a:gd name="T67" fmla="*/ 276 h 374"/>
                <a:gd name="T68" fmla="*/ 534 w 582"/>
                <a:gd name="T69" fmla="*/ 270 h 374"/>
                <a:gd name="T70" fmla="*/ 552 w 582"/>
                <a:gd name="T71" fmla="*/ 260 h 374"/>
                <a:gd name="T72" fmla="*/ 554 w 582"/>
                <a:gd name="T73" fmla="*/ 256 h 374"/>
                <a:gd name="T74" fmla="*/ 552 w 582"/>
                <a:gd name="T75" fmla="*/ 252 h 374"/>
                <a:gd name="T76" fmla="*/ 582 w 582"/>
                <a:gd name="T77" fmla="*/ 216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2" h="374">
                  <a:moveTo>
                    <a:pt x="582" y="216"/>
                  </a:moveTo>
                  <a:lnTo>
                    <a:pt x="554" y="192"/>
                  </a:lnTo>
                  <a:lnTo>
                    <a:pt x="546" y="190"/>
                  </a:lnTo>
                  <a:lnTo>
                    <a:pt x="540" y="176"/>
                  </a:lnTo>
                  <a:lnTo>
                    <a:pt x="530" y="176"/>
                  </a:lnTo>
                  <a:lnTo>
                    <a:pt x="524" y="160"/>
                  </a:lnTo>
                  <a:lnTo>
                    <a:pt x="526" y="162"/>
                  </a:lnTo>
                  <a:lnTo>
                    <a:pt x="524" y="152"/>
                  </a:lnTo>
                  <a:lnTo>
                    <a:pt x="530" y="146"/>
                  </a:lnTo>
                  <a:lnTo>
                    <a:pt x="532" y="134"/>
                  </a:lnTo>
                  <a:lnTo>
                    <a:pt x="524" y="122"/>
                  </a:lnTo>
                  <a:lnTo>
                    <a:pt x="534" y="108"/>
                  </a:lnTo>
                  <a:lnTo>
                    <a:pt x="544" y="80"/>
                  </a:lnTo>
                  <a:lnTo>
                    <a:pt x="552" y="66"/>
                  </a:lnTo>
                  <a:lnTo>
                    <a:pt x="548" y="60"/>
                  </a:lnTo>
                  <a:lnTo>
                    <a:pt x="524" y="56"/>
                  </a:lnTo>
                  <a:lnTo>
                    <a:pt x="512" y="42"/>
                  </a:lnTo>
                  <a:lnTo>
                    <a:pt x="510" y="22"/>
                  </a:lnTo>
                  <a:lnTo>
                    <a:pt x="504" y="20"/>
                  </a:lnTo>
                  <a:lnTo>
                    <a:pt x="506" y="16"/>
                  </a:lnTo>
                  <a:lnTo>
                    <a:pt x="488" y="14"/>
                  </a:lnTo>
                  <a:lnTo>
                    <a:pt x="484" y="4"/>
                  </a:lnTo>
                  <a:lnTo>
                    <a:pt x="472" y="0"/>
                  </a:lnTo>
                  <a:lnTo>
                    <a:pt x="70" y="76"/>
                  </a:lnTo>
                  <a:lnTo>
                    <a:pt x="64" y="42"/>
                  </a:lnTo>
                  <a:lnTo>
                    <a:pt x="50" y="54"/>
                  </a:lnTo>
                  <a:lnTo>
                    <a:pt x="32" y="60"/>
                  </a:lnTo>
                  <a:lnTo>
                    <a:pt x="0" y="90"/>
                  </a:lnTo>
                  <a:lnTo>
                    <a:pt x="44" y="374"/>
                  </a:lnTo>
                  <a:lnTo>
                    <a:pt x="144" y="358"/>
                  </a:lnTo>
                  <a:lnTo>
                    <a:pt x="494" y="292"/>
                  </a:lnTo>
                  <a:lnTo>
                    <a:pt x="504" y="274"/>
                  </a:lnTo>
                  <a:lnTo>
                    <a:pt x="516" y="272"/>
                  </a:lnTo>
                  <a:lnTo>
                    <a:pt x="530" y="276"/>
                  </a:lnTo>
                  <a:lnTo>
                    <a:pt x="534" y="270"/>
                  </a:lnTo>
                  <a:lnTo>
                    <a:pt x="552" y="260"/>
                  </a:lnTo>
                  <a:lnTo>
                    <a:pt x="554" y="256"/>
                  </a:lnTo>
                  <a:lnTo>
                    <a:pt x="552" y="252"/>
                  </a:lnTo>
                  <a:lnTo>
                    <a:pt x="582" y="21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" name="Freeform 210"/>
            <p:cNvSpPr>
              <a:spLocks/>
            </p:cNvSpPr>
            <p:nvPr/>
          </p:nvSpPr>
          <p:spPr bwMode="auto">
            <a:xfrm>
              <a:off x="4835129" y="3614164"/>
              <a:ext cx="652463" cy="588169"/>
            </a:xfrm>
            <a:custGeom>
              <a:avLst/>
              <a:gdLst>
                <a:gd name="T0" fmla="*/ 428 w 548"/>
                <a:gd name="T1" fmla="*/ 324 h 494"/>
                <a:gd name="T2" fmla="*/ 400 w 548"/>
                <a:gd name="T3" fmla="*/ 356 h 494"/>
                <a:gd name="T4" fmla="*/ 436 w 548"/>
                <a:gd name="T5" fmla="*/ 366 h 494"/>
                <a:gd name="T6" fmla="*/ 458 w 548"/>
                <a:gd name="T7" fmla="*/ 352 h 494"/>
                <a:gd name="T8" fmla="*/ 470 w 548"/>
                <a:gd name="T9" fmla="*/ 376 h 494"/>
                <a:gd name="T10" fmla="*/ 490 w 548"/>
                <a:gd name="T11" fmla="*/ 366 h 494"/>
                <a:gd name="T12" fmla="*/ 516 w 548"/>
                <a:gd name="T13" fmla="*/ 356 h 494"/>
                <a:gd name="T14" fmla="*/ 518 w 548"/>
                <a:gd name="T15" fmla="*/ 388 h 494"/>
                <a:gd name="T16" fmla="*/ 488 w 548"/>
                <a:gd name="T17" fmla="*/ 422 h 494"/>
                <a:gd name="T18" fmla="*/ 504 w 548"/>
                <a:gd name="T19" fmla="*/ 446 h 494"/>
                <a:gd name="T20" fmla="*/ 548 w 548"/>
                <a:gd name="T21" fmla="*/ 472 h 494"/>
                <a:gd name="T22" fmla="*/ 522 w 548"/>
                <a:gd name="T23" fmla="*/ 494 h 494"/>
                <a:gd name="T24" fmla="*/ 476 w 548"/>
                <a:gd name="T25" fmla="*/ 456 h 494"/>
                <a:gd name="T26" fmla="*/ 450 w 548"/>
                <a:gd name="T27" fmla="*/ 444 h 494"/>
                <a:gd name="T28" fmla="*/ 448 w 548"/>
                <a:gd name="T29" fmla="*/ 456 h 494"/>
                <a:gd name="T30" fmla="*/ 434 w 548"/>
                <a:gd name="T31" fmla="*/ 480 h 494"/>
                <a:gd name="T32" fmla="*/ 392 w 548"/>
                <a:gd name="T33" fmla="*/ 482 h 494"/>
                <a:gd name="T34" fmla="*/ 366 w 548"/>
                <a:gd name="T35" fmla="*/ 484 h 494"/>
                <a:gd name="T36" fmla="*/ 342 w 548"/>
                <a:gd name="T37" fmla="*/ 474 h 494"/>
                <a:gd name="T38" fmla="*/ 296 w 548"/>
                <a:gd name="T39" fmla="*/ 440 h 494"/>
                <a:gd name="T40" fmla="*/ 270 w 548"/>
                <a:gd name="T41" fmla="*/ 424 h 494"/>
                <a:gd name="T42" fmla="*/ 218 w 548"/>
                <a:gd name="T43" fmla="*/ 410 h 494"/>
                <a:gd name="T44" fmla="*/ 214 w 548"/>
                <a:gd name="T45" fmla="*/ 428 h 494"/>
                <a:gd name="T46" fmla="*/ 86 w 548"/>
                <a:gd name="T47" fmla="*/ 416 h 494"/>
                <a:gd name="T48" fmla="*/ 14 w 548"/>
                <a:gd name="T49" fmla="*/ 412 h 494"/>
                <a:gd name="T50" fmla="*/ 32 w 548"/>
                <a:gd name="T51" fmla="*/ 390 h 494"/>
                <a:gd name="T52" fmla="*/ 42 w 548"/>
                <a:gd name="T53" fmla="*/ 370 h 494"/>
                <a:gd name="T54" fmla="*/ 34 w 548"/>
                <a:gd name="T55" fmla="*/ 344 h 494"/>
                <a:gd name="T56" fmla="*/ 36 w 548"/>
                <a:gd name="T57" fmla="*/ 318 h 494"/>
                <a:gd name="T58" fmla="*/ 54 w 548"/>
                <a:gd name="T59" fmla="*/ 276 h 494"/>
                <a:gd name="T60" fmla="*/ 54 w 548"/>
                <a:gd name="T61" fmla="*/ 262 h 494"/>
                <a:gd name="T62" fmla="*/ 54 w 548"/>
                <a:gd name="T63" fmla="*/ 250 h 494"/>
                <a:gd name="T64" fmla="*/ 54 w 548"/>
                <a:gd name="T65" fmla="*/ 238 h 494"/>
                <a:gd name="T66" fmla="*/ 50 w 548"/>
                <a:gd name="T67" fmla="*/ 236 h 494"/>
                <a:gd name="T68" fmla="*/ 44 w 548"/>
                <a:gd name="T69" fmla="*/ 214 h 494"/>
                <a:gd name="T70" fmla="*/ 36 w 548"/>
                <a:gd name="T71" fmla="*/ 198 h 494"/>
                <a:gd name="T72" fmla="*/ 26 w 548"/>
                <a:gd name="T73" fmla="*/ 174 h 494"/>
                <a:gd name="T74" fmla="*/ 0 w 548"/>
                <a:gd name="T75" fmla="*/ 136 h 494"/>
                <a:gd name="T76" fmla="*/ 306 w 548"/>
                <a:gd name="T77" fmla="*/ 0 h 494"/>
                <a:gd name="T78" fmla="*/ 314 w 548"/>
                <a:gd name="T79" fmla="*/ 10 h 494"/>
                <a:gd name="T80" fmla="*/ 316 w 548"/>
                <a:gd name="T81" fmla="*/ 40 h 494"/>
                <a:gd name="T82" fmla="*/ 314 w 548"/>
                <a:gd name="T83" fmla="*/ 58 h 494"/>
                <a:gd name="T84" fmla="*/ 336 w 548"/>
                <a:gd name="T85" fmla="*/ 86 h 494"/>
                <a:gd name="T86" fmla="*/ 316 w 548"/>
                <a:gd name="T87" fmla="*/ 110 h 494"/>
                <a:gd name="T88" fmla="*/ 290 w 548"/>
                <a:gd name="T89" fmla="*/ 152 h 494"/>
                <a:gd name="T90" fmla="*/ 274 w 548"/>
                <a:gd name="T91" fmla="*/ 192 h 494"/>
                <a:gd name="T92" fmla="*/ 274 w 548"/>
                <a:gd name="T93" fmla="*/ 218 h 494"/>
                <a:gd name="T94" fmla="*/ 270 w 548"/>
                <a:gd name="T95" fmla="*/ 248 h 494"/>
                <a:gd name="T96" fmla="*/ 262 w 548"/>
                <a:gd name="T97" fmla="*/ 256 h 494"/>
                <a:gd name="T98" fmla="*/ 460 w 548"/>
                <a:gd name="T99" fmla="*/ 290 h 494"/>
                <a:gd name="T100" fmla="*/ 480 w 548"/>
                <a:gd name="T101" fmla="*/ 314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8" h="494">
                  <a:moveTo>
                    <a:pt x="490" y="340"/>
                  </a:moveTo>
                  <a:lnTo>
                    <a:pt x="428" y="324"/>
                  </a:lnTo>
                  <a:lnTo>
                    <a:pt x="404" y="334"/>
                  </a:lnTo>
                  <a:lnTo>
                    <a:pt x="400" y="356"/>
                  </a:lnTo>
                  <a:lnTo>
                    <a:pt x="416" y="368"/>
                  </a:lnTo>
                  <a:lnTo>
                    <a:pt x="436" y="366"/>
                  </a:lnTo>
                  <a:lnTo>
                    <a:pt x="450" y="354"/>
                  </a:lnTo>
                  <a:lnTo>
                    <a:pt x="458" y="352"/>
                  </a:lnTo>
                  <a:lnTo>
                    <a:pt x="464" y="354"/>
                  </a:lnTo>
                  <a:lnTo>
                    <a:pt x="470" y="376"/>
                  </a:lnTo>
                  <a:lnTo>
                    <a:pt x="478" y="378"/>
                  </a:lnTo>
                  <a:lnTo>
                    <a:pt x="490" y="366"/>
                  </a:lnTo>
                  <a:lnTo>
                    <a:pt x="512" y="354"/>
                  </a:lnTo>
                  <a:lnTo>
                    <a:pt x="516" y="356"/>
                  </a:lnTo>
                  <a:lnTo>
                    <a:pt x="522" y="360"/>
                  </a:lnTo>
                  <a:lnTo>
                    <a:pt x="518" y="388"/>
                  </a:lnTo>
                  <a:lnTo>
                    <a:pt x="496" y="406"/>
                  </a:lnTo>
                  <a:lnTo>
                    <a:pt x="488" y="422"/>
                  </a:lnTo>
                  <a:lnTo>
                    <a:pt x="488" y="428"/>
                  </a:lnTo>
                  <a:lnTo>
                    <a:pt x="504" y="446"/>
                  </a:lnTo>
                  <a:lnTo>
                    <a:pt x="538" y="460"/>
                  </a:lnTo>
                  <a:lnTo>
                    <a:pt x="548" y="472"/>
                  </a:lnTo>
                  <a:lnTo>
                    <a:pt x="544" y="482"/>
                  </a:lnTo>
                  <a:lnTo>
                    <a:pt x="522" y="494"/>
                  </a:lnTo>
                  <a:lnTo>
                    <a:pt x="500" y="466"/>
                  </a:lnTo>
                  <a:lnTo>
                    <a:pt x="476" y="456"/>
                  </a:lnTo>
                  <a:lnTo>
                    <a:pt x="460" y="444"/>
                  </a:lnTo>
                  <a:lnTo>
                    <a:pt x="450" y="444"/>
                  </a:lnTo>
                  <a:lnTo>
                    <a:pt x="448" y="448"/>
                  </a:lnTo>
                  <a:lnTo>
                    <a:pt x="448" y="456"/>
                  </a:lnTo>
                  <a:lnTo>
                    <a:pt x="446" y="462"/>
                  </a:lnTo>
                  <a:lnTo>
                    <a:pt x="434" y="480"/>
                  </a:lnTo>
                  <a:lnTo>
                    <a:pt x="402" y="476"/>
                  </a:lnTo>
                  <a:lnTo>
                    <a:pt x="392" y="482"/>
                  </a:lnTo>
                  <a:lnTo>
                    <a:pt x="382" y="474"/>
                  </a:lnTo>
                  <a:lnTo>
                    <a:pt x="366" y="484"/>
                  </a:lnTo>
                  <a:lnTo>
                    <a:pt x="348" y="480"/>
                  </a:lnTo>
                  <a:lnTo>
                    <a:pt x="342" y="474"/>
                  </a:lnTo>
                  <a:lnTo>
                    <a:pt x="320" y="474"/>
                  </a:lnTo>
                  <a:lnTo>
                    <a:pt x="296" y="440"/>
                  </a:lnTo>
                  <a:lnTo>
                    <a:pt x="284" y="438"/>
                  </a:lnTo>
                  <a:lnTo>
                    <a:pt x="270" y="424"/>
                  </a:lnTo>
                  <a:lnTo>
                    <a:pt x="238" y="410"/>
                  </a:lnTo>
                  <a:lnTo>
                    <a:pt x="218" y="410"/>
                  </a:lnTo>
                  <a:lnTo>
                    <a:pt x="212" y="416"/>
                  </a:lnTo>
                  <a:lnTo>
                    <a:pt x="214" y="428"/>
                  </a:lnTo>
                  <a:lnTo>
                    <a:pt x="200" y="440"/>
                  </a:lnTo>
                  <a:lnTo>
                    <a:pt x="86" y="416"/>
                  </a:lnTo>
                  <a:lnTo>
                    <a:pt x="26" y="426"/>
                  </a:lnTo>
                  <a:lnTo>
                    <a:pt x="14" y="412"/>
                  </a:lnTo>
                  <a:lnTo>
                    <a:pt x="26" y="402"/>
                  </a:lnTo>
                  <a:lnTo>
                    <a:pt x="32" y="390"/>
                  </a:lnTo>
                  <a:lnTo>
                    <a:pt x="38" y="380"/>
                  </a:lnTo>
                  <a:lnTo>
                    <a:pt x="42" y="370"/>
                  </a:lnTo>
                  <a:lnTo>
                    <a:pt x="40" y="352"/>
                  </a:lnTo>
                  <a:lnTo>
                    <a:pt x="34" y="344"/>
                  </a:lnTo>
                  <a:lnTo>
                    <a:pt x="40" y="332"/>
                  </a:lnTo>
                  <a:lnTo>
                    <a:pt x="36" y="318"/>
                  </a:lnTo>
                  <a:lnTo>
                    <a:pt x="54" y="284"/>
                  </a:lnTo>
                  <a:lnTo>
                    <a:pt x="54" y="276"/>
                  </a:lnTo>
                  <a:lnTo>
                    <a:pt x="58" y="270"/>
                  </a:lnTo>
                  <a:lnTo>
                    <a:pt x="54" y="262"/>
                  </a:lnTo>
                  <a:lnTo>
                    <a:pt x="60" y="258"/>
                  </a:lnTo>
                  <a:lnTo>
                    <a:pt x="54" y="250"/>
                  </a:lnTo>
                  <a:lnTo>
                    <a:pt x="56" y="238"/>
                  </a:lnTo>
                  <a:lnTo>
                    <a:pt x="54" y="238"/>
                  </a:lnTo>
                  <a:lnTo>
                    <a:pt x="54" y="238"/>
                  </a:lnTo>
                  <a:lnTo>
                    <a:pt x="50" y="236"/>
                  </a:lnTo>
                  <a:lnTo>
                    <a:pt x="42" y="222"/>
                  </a:lnTo>
                  <a:lnTo>
                    <a:pt x="44" y="214"/>
                  </a:lnTo>
                  <a:lnTo>
                    <a:pt x="34" y="202"/>
                  </a:lnTo>
                  <a:lnTo>
                    <a:pt x="36" y="198"/>
                  </a:lnTo>
                  <a:lnTo>
                    <a:pt x="24" y="188"/>
                  </a:lnTo>
                  <a:lnTo>
                    <a:pt x="26" y="174"/>
                  </a:lnTo>
                  <a:lnTo>
                    <a:pt x="24" y="162"/>
                  </a:lnTo>
                  <a:lnTo>
                    <a:pt x="0" y="136"/>
                  </a:lnTo>
                  <a:lnTo>
                    <a:pt x="0" y="8"/>
                  </a:lnTo>
                  <a:lnTo>
                    <a:pt x="306" y="0"/>
                  </a:lnTo>
                  <a:lnTo>
                    <a:pt x="304" y="6"/>
                  </a:lnTo>
                  <a:lnTo>
                    <a:pt x="314" y="10"/>
                  </a:lnTo>
                  <a:lnTo>
                    <a:pt x="306" y="32"/>
                  </a:lnTo>
                  <a:lnTo>
                    <a:pt x="316" y="40"/>
                  </a:lnTo>
                  <a:lnTo>
                    <a:pt x="306" y="46"/>
                  </a:lnTo>
                  <a:lnTo>
                    <a:pt x="314" y="58"/>
                  </a:lnTo>
                  <a:lnTo>
                    <a:pt x="314" y="70"/>
                  </a:lnTo>
                  <a:lnTo>
                    <a:pt x="336" y="86"/>
                  </a:lnTo>
                  <a:lnTo>
                    <a:pt x="324" y="110"/>
                  </a:lnTo>
                  <a:lnTo>
                    <a:pt x="316" y="110"/>
                  </a:lnTo>
                  <a:lnTo>
                    <a:pt x="318" y="126"/>
                  </a:lnTo>
                  <a:lnTo>
                    <a:pt x="290" y="152"/>
                  </a:lnTo>
                  <a:lnTo>
                    <a:pt x="284" y="182"/>
                  </a:lnTo>
                  <a:lnTo>
                    <a:pt x="274" y="192"/>
                  </a:lnTo>
                  <a:lnTo>
                    <a:pt x="278" y="206"/>
                  </a:lnTo>
                  <a:lnTo>
                    <a:pt x="274" y="218"/>
                  </a:lnTo>
                  <a:lnTo>
                    <a:pt x="260" y="224"/>
                  </a:lnTo>
                  <a:lnTo>
                    <a:pt x="270" y="248"/>
                  </a:lnTo>
                  <a:lnTo>
                    <a:pt x="262" y="258"/>
                  </a:lnTo>
                  <a:lnTo>
                    <a:pt x="262" y="256"/>
                  </a:lnTo>
                  <a:lnTo>
                    <a:pt x="470" y="248"/>
                  </a:lnTo>
                  <a:lnTo>
                    <a:pt x="460" y="290"/>
                  </a:lnTo>
                  <a:lnTo>
                    <a:pt x="466" y="302"/>
                  </a:lnTo>
                  <a:lnTo>
                    <a:pt x="480" y="314"/>
                  </a:lnTo>
                  <a:lnTo>
                    <a:pt x="490" y="34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" name="Freeform 211"/>
            <p:cNvSpPr>
              <a:spLocks/>
            </p:cNvSpPr>
            <p:nvPr/>
          </p:nvSpPr>
          <p:spPr bwMode="auto">
            <a:xfrm>
              <a:off x="7009211" y="1505566"/>
              <a:ext cx="200025" cy="371475"/>
            </a:xfrm>
            <a:custGeom>
              <a:avLst/>
              <a:gdLst>
                <a:gd name="T0" fmla="*/ 144 w 168"/>
                <a:gd name="T1" fmla="*/ 296 h 312"/>
                <a:gd name="T2" fmla="*/ 132 w 168"/>
                <a:gd name="T3" fmla="*/ 282 h 312"/>
                <a:gd name="T4" fmla="*/ 136 w 168"/>
                <a:gd name="T5" fmla="*/ 262 h 312"/>
                <a:gd name="T6" fmla="*/ 126 w 168"/>
                <a:gd name="T7" fmla="*/ 194 h 312"/>
                <a:gd name="T8" fmla="*/ 140 w 168"/>
                <a:gd name="T9" fmla="*/ 136 h 312"/>
                <a:gd name="T10" fmla="*/ 136 w 168"/>
                <a:gd name="T11" fmla="*/ 92 h 312"/>
                <a:gd name="T12" fmla="*/ 150 w 168"/>
                <a:gd name="T13" fmla="*/ 84 h 312"/>
                <a:gd name="T14" fmla="*/ 168 w 168"/>
                <a:gd name="T15" fmla="*/ 56 h 312"/>
                <a:gd name="T16" fmla="*/ 168 w 168"/>
                <a:gd name="T17" fmla="*/ 46 h 312"/>
                <a:gd name="T18" fmla="*/ 156 w 168"/>
                <a:gd name="T19" fmla="*/ 28 h 312"/>
                <a:gd name="T20" fmla="*/ 162 w 168"/>
                <a:gd name="T21" fmla="*/ 8 h 312"/>
                <a:gd name="T22" fmla="*/ 158 w 168"/>
                <a:gd name="T23" fmla="*/ 0 h 312"/>
                <a:gd name="T24" fmla="*/ 0 w 168"/>
                <a:gd name="T25" fmla="*/ 38 h 312"/>
                <a:gd name="T26" fmla="*/ 4 w 168"/>
                <a:gd name="T27" fmla="*/ 46 h 312"/>
                <a:gd name="T28" fmla="*/ 2 w 168"/>
                <a:gd name="T29" fmla="*/ 54 h 312"/>
                <a:gd name="T30" fmla="*/ 6 w 168"/>
                <a:gd name="T31" fmla="*/ 62 h 312"/>
                <a:gd name="T32" fmla="*/ 8 w 168"/>
                <a:gd name="T33" fmla="*/ 82 h 312"/>
                <a:gd name="T34" fmla="*/ 20 w 168"/>
                <a:gd name="T35" fmla="*/ 102 h 312"/>
                <a:gd name="T36" fmla="*/ 18 w 168"/>
                <a:gd name="T37" fmla="*/ 112 h 312"/>
                <a:gd name="T38" fmla="*/ 24 w 168"/>
                <a:gd name="T39" fmla="*/ 126 h 312"/>
                <a:gd name="T40" fmla="*/ 20 w 168"/>
                <a:gd name="T41" fmla="*/ 134 h 312"/>
                <a:gd name="T42" fmla="*/ 18 w 168"/>
                <a:gd name="T43" fmla="*/ 154 h 312"/>
                <a:gd name="T44" fmla="*/ 34 w 168"/>
                <a:gd name="T45" fmla="*/ 190 h 312"/>
                <a:gd name="T46" fmla="*/ 32 w 168"/>
                <a:gd name="T47" fmla="*/ 204 h 312"/>
                <a:gd name="T48" fmla="*/ 34 w 168"/>
                <a:gd name="T49" fmla="*/ 212 h 312"/>
                <a:gd name="T50" fmla="*/ 42 w 168"/>
                <a:gd name="T51" fmla="*/ 204 h 312"/>
                <a:gd name="T52" fmla="*/ 50 w 168"/>
                <a:gd name="T53" fmla="*/ 212 h 312"/>
                <a:gd name="T54" fmla="*/ 68 w 168"/>
                <a:gd name="T55" fmla="*/ 302 h 312"/>
                <a:gd name="T56" fmla="*/ 72 w 168"/>
                <a:gd name="T57" fmla="*/ 312 h 312"/>
                <a:gd name="T58" fmla="*/ 144 w 168"/>
                <a:gd name="T59" fmla="*/ 296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8" h="312">
                  <a:moveTo>
                    <a:pt x="144" y="296"/>
                  </a:moveTo>
                  <a:lnTo>
                    <a:pt x="132" y="282"/>
                  </a:lnTo>
                  <a:lnTo>
                    <a:pt x="136" y="262"/>
                  </a:lnTo>
                  <a:lnTo>
                    <a:pt x="126" y="194"/>
                  </a:lnTo>
                  <a:lnTo>
                    <a:pt x="140" y="136"/>
                  </a:lnTo>
                  <a:lnTo>
                    <a:pt x="136" y="92"/>
                  </a:lnTo>
                  <a:lnTo>
                    <a:pt x="150" y="84"/>
                  </a:lnTo>
                  <a:lnTo>
                    <a:pt x="168" y="56"/>
                  </a:lnTo>
                  <a:lnTo>
                    <a:pt x="168" y="46"/>
                  </a:lnTo>
                  <a:lnTo>
                    <a:pt x="156" y="28"/>
                  </a:lnTo>
                  <a:lnTo>
                    <a:pt x="162" y="8"/>
                  </a:lnTo>
                  <a:lnTo>
                    <a:pt x="158" y="0"/>
                  </a:lnTo>
                  <a:lnTo>
                    <a:pt x="0" y="38"/>
                  </a:lnTo>
                  <a:lnTo>
                    <a:pt x="4" y="46"/>
                  </a:lnTo>
                  <a:lnTo>
                    <a:pt x="2" y="54"/>
                  </a:lnTo>
                  <a:lnTo>
                    <a:pt x="6" y="62"/>
                  </a:lnTo>
                  <a:lnTo>
                    <a:pt x="8" y="82"/>
                  </a:lnTo>
                  <a:lnTo>
                    <a:pt x="20" y="102"/>
                  </a:lnTo>
                  <a:lnTo>
                    <a:pt x="18" y="112"/>
                  </a:lnTo>
                  <a:lnTo>
                    <a:pt x="24" y="126"/>
                  </a:lnTo>
                  <a:lnTo>
                    <a:pt x="20" y="134"/>
                  </a:lnTo>
                  <a:lnTo>
                    <a:pt x="18" y="154"/>
                  </a:lnTo>
                  <a:lnTo>
                    <a:pt x="34" y="190"/>
                  </a:lnTo>
                  <a:lnTo>
                    <a:pt x="32" y="204"/>
                  </a:lnTo>
                  <a:lnTo>
                    <a:pt x="34" y="212"/>
                  </a:lnTo>
                  <a:lnTo>
                    <a:pt x="42" y="204"/>
                  </a:lnTo>
                  <a:lnTo>
                    <a:pt x="50" y="212"/>
                  </a:lnTo>
                  <a:lnTo>
                    <a:pt x="68" y="302"/>
                  </a:lnTo>
                  <a:lnTo>
                    <a:pt x="72" y="312"/>
                  </a:lnTo>
                  <a:lnTo>
                    <a:pt x="144" y="29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8" name="Freeform 212"/>
            <p:cNvSpPr>
              <a:spLocks/>
            </p:cNvSpPr>
            <p:nvPr/>
          </p:nvSpPr>
          <p:spPr bwMode="auto">
            <a:xfrm>
              <a:off x="6942536" y="2115166"/>
              <a:ext cx="169069" cy="357188"/>
            </a:xfrm>
            <a:custGeom>
              <a:avLst/>
              <a:gdLst>
                <a:gd name="T0" fmla="*/ 6 w 142"/>
                <a:gd name="T1" fmla="*/ 242 h 300"/>
                <a:gd name="T2" fmla="*/ 36 w 142"/>
                <a:gd name="T3" fmla="*/ 264 h 300"/>
                <a:gd name="T4" fmla="*/ 50 w 142"/>
                <a:gd name="T5" fmla="*/ 266 h 300"/>
                <a:gd name="T6" fmla="*/ 64 w 142"/>
                <a:gd name="T7" fmla="*/ 274 h 300"/>
                <a:gd name="T8" fmla="*/ 82 w 142"/>
                <a:gd name="T9" fmla="*/ 272 h 300"/>
                <a:gd name="T10" fmla="*/ 86 w 142"/>
                <a:gd name="T11" fmla="*/ 294 h 300"/>
                <a:gd name="T12" fmla="*/ 90 w 142"/>
                <a:gd name="T13" fmla="*/ 300 h 300"/>
                <a:gd name="T14" fmla="*/ 126 w 142"/>
                <a:gd name="T15" fmla="*/ 220 h 300"/>
                <a:gd name="T16" fmla="*/ 124 w 142"/>
                <a:gd name="T17" fmla="*/ 214 h 300"/>
                <a:gd name="T18" fmla="*/ 132 w 142"/>
                <a:gd name="T19" fmla="*/ 208 h 300"/>
                <a:gd name="T20" fmla="*/ 134 w 142"/>
                <a:gd name="T21" fmla="*/ 202 h 300"/>
                <a:gd name="T22" fmla="*/ 132 w 142"/>
                <a:gd name="T23" fmla="*/ 166 h 300"/>
                <a:gd name="T24" fmla="*/ 134 w 142"/>
                <a:gd name="T25" fmla="*/ 162 h 300"/>
                <a:gd name="T26" fmla="*/ 138 w 142"/>
                <a:gd name="T27" fmla="*/ 162 h 300"/>
                <a:gd name="T28" fmla="*/ 142 w 142"/>
                <a:gd name="T29" fmla="*/ 160 h 300"/>
                <a:gd name="T30" fmla="*/ 142 w 142"/>
                <a:gd name="T31" fmla="*/ 124 h 300"/>
                <a:gd name="T32" fmla="*/ 138 w 142"/>
                <a:gd name="T33" fmla="*/ 116 h 300"/>
                <a:gd name="T34" fmla="*/ 126 w 142"/>
                <a:gd name="T35" fmla="*/ 106 h 300"/>
                <a:gd name="T36" fmla="*/ 112 w 142"/>
                <a:gd name="T37" fmla="*/ 102 h 300"/>
                <a:gd name="T38" fmla="*/ 110 w 142"/>
                <a:gd name="T39" fmla="*/ 100 h 300"/>
                <a:gd name="T40" fmla="*/ 108 w 142"/>
                <a:gd name="T41" fmla="*/ 92 h 300"/>
                <a:gd name="T42" fmla="*/ 112 w 142"/>
                <a:gd name="T43" fmla="*/ 76 h 300"/>
                <a:gd name="T44" fmla="*/ 116 w 142"/>
                <a:gd name="T45" fmla="*/ 70 h 300"/>
                <a:gd name="T46" fmla="*/ 120 w 142"/>
                <a:gd name="T47" fmla="*/ 30 h 300"/>
                <a:gd name="T48" fmla="*/ 34 w 142"/>
                <a:gd name="T49" fmla="*/ 0 h 300"/>
                <a:gd name="T50" fmla="*/ 26 w 142"/>
                <a:gd name="T51" fmla="*/ 14 h 300"/>
                <a:gd name="T52" fmla="*/ 16 w 142"/>
                <a:gd name="T53" fmla="*/ 42 h 300"/>
                <a:gd name="T54" fmla="*/ 6 w 142"/>
                <a:gd name="T55" fmla="*/ 56 h 300"/>
                <a:gd name="T56" fmla="*/ 14 w 142"/>
                <a:gd name="T57" fmla="*/ 68 h 300"/>
                <a:gd name="T58" fmla="*/ 12 w 142"/>
                <a:gd name="T59" fmla="*/ 80 h 300"/>
                <a:gd name="T60" fmla="*/ 6 w 142"/>
                <a:gd name="T61" fmla="*/ 86 h 300"/>
                <a:gd name="T62" fmla="*/ 8 w 142"/>
                <a:gd name="T63" fmla="*/ 96 h 300"/>
                <a:gd name="T64" fmla="*/ 6 w 142"/>
                <a:gd name="T65" fmla="*/ 94 h 300"/>
                <a:gd name="T66" fmla="*/ 12 w 142"/>
                <a:gd name="T67" fmla="*/ 110 h 300"/>
                <a:gd name="T68" fmla="*/ 22 w 142"/>
                <a:gd name="T69" fmla="*/ 110 h 300"/>
                <a:gd name="T70" fmla="*/ 28 w 142"/>
                <a:gd name="T71" fmla="*/ 124 h 300"/>
                <a:gd name="T72" fmla="*/ 36 w 142"/>
                <a:gd name="T73" fmla="*/ 126 h 300"/>
                <a:gd name="T74" fmla="*/ 64 w 142"/>
                <a:gd name="T75" fmla="*/ 150 h 300"/>
                <a:gd name="T76" fmla="*/ 34 w 142"/>
                <a:gd name="T77" fmla="*/ 186 h 300"/>
                <a:gd name="T78" fmla="*/ 36 w 142"/>
                <a:gd name="T79" fmla="*/ 190 h 300"/>
                <a:gd name="T80" fmla="*/ 34 w 142"/>
                <a:gd name="T81" fmla="*/ 194 h 300"/>
                <a:gd name="T82" fmla="*/ 16 w 142"/>
                <a:gd name="T83" fmla="*/ 204 h 300"/>
                <a:gd name="T84" fmla="*/ 6 w 142"/>
                <a:gd name="T85" fmla="*/ 216 h 300"/>
                <a:gd name="T86" fmla="*/ 0 w 142"/>
                <a:gd name="T87" fmla="*/ 234 h 300"/>
                <a:gd name="T88" fmla="*/ 6 w 142"/>
                <a:gd name="T89" fmla="*/ 242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2" h="300">
                  <a:moveTo>
                    <a:pt x="6" y="242"/>
                  </a:moveTo>
                  <a:lnTo>
                    <a:pt x="36" y="264"/>
                  </a:lnTo>
                  <a:lnTo>
                    <a:pt x="50" y="266"/>
                  </a:lnTo>
                  <a:lnTo>
                    <a:pt x="64" y="274"/>
                  </a:lnTo>
                  <a:lnTo>
                    <a:pt x="82" y="272"/>
                  </a:lnTo>
                  <a:lnTo>
                    <a:pt x="86" y="294"/>
                  </a:lnTo>
                  <a:lnTo>
                    <a:pt x="90" y="300"/>
                  </a:lnTo>
                  <a:lnTo>
                    <a:pt x="126" y="220"/>
                  </a:lnTo>
                  <a:lnTo>
                    <a:pt x="124" y="214"/>
                  </a:lnTo>
                  <a:lnTo>
                    <a:pt x="132" y="208"/>
                  </a:lnTo>
                  <a:lnTo>
                    <a:pt x="134" y="202"/>
                  </a:lnTo>
                  <a:lnTo>
                    <a:pt x="132" y="166"/>
                  </a:lnTo>
                  <a:lnTo>
                    <a:pt x="134" y="162"/>
                  </a:lnTo>
                  <a:lnTo>
                    <a:pt x="138" y="162"/>
                  </a:lnTo>
                  <a:lnTo>
                    <a:pt x="142" y="160"/>
                  </a:lnTo>
                  <a:lnTo>
                    <a:pt x="142" y="124"/>
                  </a:lnTo>
                  <a:lnTo>
                    <a:pt x="138" y="116"/>
                  </a:lnTo>
                  <a:lnTo>
                    <a:pt x="126" y="106"/>
                  </a:lnTo>
                  <a:lnTo>
                    <a:pt x="112" y="102"/>
                  </a:lnTo>
                  <a:lnTo>
                    <a:pt x="110" y="100"/>
                  </a:lnTo>
                  <a:lnTo>
                    <a:pt x="108" y="92"/>
                  </a:lnTo>
                  <a:lnTo>
                    <a:pt x="112" y="76"/>
                  </a:lnTo>
                  <a:lnTo>
                    <a:pt x="116" y="70"/>
                  </a:lnTo>
                  <a:lnTo>
                    <a:pt x="120" y="30"/>
                  </a:lnTo>
                  <a:lnTo>
                    <a:pt x="34" y="0"/>
                  </a:lnTo>
                  <a:lnTo>
                    <a:pt x="26" y="14"/>
                  </a:lnTo>
                  <a:lnTo>
                    <a:pt x="16" y="42"/>
                  </a:lnTo>
                  <a:lnTo>
                    <a:pt x="6" y="56"/>
                  </a:lnTo>
                  <a:lnTo>
                    <a:pt x="14" y="68"/>
                  </a:lnTo>
                  <a:lnTo>
                    <a:pt x="12" y="80"/>
                  </a:lnTo>
                  <a:lnTo>
                    <a:pt x="6" y="86"/>
                  </a:lnTo>
                  <a:lnTo>
                    <a:pt x="8" y="96"/>
                  </a:lnTo>
                  <a:lnTo>
                    <a:pt x="6" y="94"/>
                  </a:lnTo>
                  <a:lnTo>
                    <a:pt x="12" y="110"/>
                  </a:lnTo>
                  <a:lnTo>
                    <a:pt x="22" y="110"/>
                  </a:lnTo>
                  <a:lnTo>
                    <a:pt x="28" y="124"/>
                  </a:lnTo>
                  <a:lnTo>
                    <a:pt x="36" y="126"/>
                  </a:lnTo>
                  <a:lnTo>
                    <a:pt x="64" y="150"/>
                  </a:lnTo>
                  <a:lnTo>
                    <a:pt x="34" y="186"/>
                  </a:lnTo>
                  <a:lnTo>
                    <a:pt x="36" y="190"/>
                  </a:lnTo>
                  <a:lnTo>
                    <a:pt x="34" y="194"/>
                  </a:lnTo>
                  <a:lnTo>
                    <a:pt x="16" y="204"/>
                  </a:lnTo>
                  <a:lnTo>
                    <a:pt x="6" y="216"/>
                  </a:lnTo>
                  <a:lnTo>
                    <a:pt x="0" y="234"/>
                  </a:lnTo>
                  <a:lnTo>
                    <a:pt x="6" y="242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9" name="Freeform 213"/>
            <p:cNvSpPr>
              <a:spLocks/>
            </p:cNvSpPr>
            <p:nvPr/>
          </p:nvSpPr>
          <p:spPr bwMode="auto">
            <a:xfrm>
              <a:off x="7278293" y="1931810"/>
              <a:ext cx="78581" cy="116681"/>
            </a:xfrm>
            <a:custGeom>
              <a:avLst/>
              <a:gdLst>
                <a:gd name="T0" fmla="*/ 18 w 66"/>
                <a:gd name="T1" fmla="*/ 98 h 98"/>
                <a:gd name="T2" fmla="*/ 52 w 66"/>
                <a:gd name="T3" fmla="*/ 78 h 98"/>
                <a:gd name="T4" fmla="*/ 60 w 66"/>
                <a:gd name="T5" fmla="*/ 68 h 98"/>
                <a:gd name="T6" fmla="*/ 62 w 66"/>
                <a:gd name="T7" fmla="*/ 40 h 98"/>
                <a:gd name="T8" fmla="*/ 66 w 66"/>
                <a:gd name="T9" fmla="*/ 36 h 98"/>
                <a:gd name="T10" fmla="*/ 48 w 66"/>
                <a:gd name="T11" fmla="*/ 28 h 98"/>
                <a:gd name="T12" fmla="*/ 46 w 66"/>
                <a:gd name="T13" fmla="*/ 16 h 98"/>
                <a:gd name="T14" fmla="*/ 42 w 66"/>
                <a:gd name="T15" fmla="*/ 16 h 98"/>
                <a:gd name="T16" fmla="*/ 38 w 66"/>
                <a:gd name="T17" fmla="*/ 0 h 98"/>
                <a:gd name="T18" fmla="*/ 0 w 66"/>
                <a:gd name="T19" fmla="*/ 10 h 98"/>
                <a:gd name="T20" fmla="*/ 18 w 66"/>
                <a:gd name="T21" fmla="*/ 86 h 98"/>
                <a:gd name="T22" fmla="*/ 16 w 66"/>
                <a:gd name="T23" fmla="*/ 88 h 98"/>
                <a:gd name="T24" fmla="*/ 18 w 66"/>
                <a:gd name="T25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98">
                  <a:moveTo>
                    <a:pt x="18" y="98"/>
                  </a:moveTo>
                  <a:lnTo>
                    <a:pt x="52" y="78"/>
                  </a:lnTo>
                  <a:lnTo>
                    <a:pt x="60" y="68"/>
                  </a:lnTo>
                  <a:lnTo>
                    <a:pt x="62" y="40"/>
                  </a:lnTo>
                  <a:lnTo>
                    <a:pt x="66" y="36"/>
                  </a:lnTo>
                  <a:lnTo>
                    <a:pt x="48" y="28"/>
                  </a:lnTo>
                  <a:lnTo>
                    <a:pt x="46" y="16"/>
                  </a:lnTo>
                  <a:lnTo>
                    <a:pt x="42" y="16"/>
                  </a:lnTo>
                  <a:lnTo>
                    <a:pt x="38" y="0"/>
                  </a:lnTo>
                  <a:lnTo>
                    <a:pt x="0" y="10"/>
                  </a:lnTo>
                  <a:lnTo>
                    <a:pt x="18" y="86"/>
                  </a:lnTo>
                  <a:lnTo>
                    <a:pt x="16" y="88"/>
                  </a:lnTo>
                  <a:lnTo>
                    <a:pt x="18" y="98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0" name="Freeform 214"/>
            <p:cNvSpPr>
              <a:spLocks/>
            </p:cNvSpPr>
            <p:nvPr/>
          </p:nvSpPr>
          <p:spPr bwMode="auto">
            <a:xfrm>
              <a:off x="6147199" y="3176013"/>
              <a:ext cx="607219" cy="461963"/>
            </a:xfrm>
            <a:custGeom>
              <a:avLst/>
              <a:gdLst>
                <a:gd name="T0" fmla="*/ 298 w 510"/>
                <a:gd name="T1" fmla="*/ 378 h 388"/>
                <a:gd name="T2" fmla="*/ 316 w 510"/>
                <a:gd name="T3" fmla="*/ 362 h 388"/>
                <a:gd name="T4" fmla="*/ 332 w 510"/>
                <a:gd name="T5" fmla="*/ 352 h 388"/>
                <a:gd name="T6" fmla="*/ 312 w 510"/>
                <a:gd name="T7" fmla="*/ 324 h 388"/>
                <a:gd name="T8" fmla="*/ 374 w 510"/>
                <a:gd name="T9" fmla="*/ 310 h 388"/>
                <a:gd name="T10" fmla="*/ 420 w 510"/>
                <a:gd name="T11" fmla="*/ 262 h 388"/>
                <a:gd name="T12" fmla="*/ 432 w 510"/>
                <a:gd name="T13" fmla="*/ 254 h 388"/>
                <a:gd name="T14" fmla="*/ 450 w 510"/>
                <a:gd name="T15" fmla="*/ 232 h 388"/>
                <a:gd name="T16" fmla="*/ 464 w 510"/>
                <a:gd name="T17" fmla="*/ 208 h 388"/>
                <a:gd name="T18" fmla="*/ 468 w 510"/>
                <a:gd name="T19" fmla="*/ 186 h 388"/>
                <a:gd name="T20" fmla="*/ 510 w 510"/>
                <a:gd name="T21" fmla="*/ 130 h 388"/>
                <a:gd name="T22" fmla="*/ 376 w 510"/>
                <a:gd name="T23" fmla="*/ 20 h 388"/>
                <a:gd name="T24" fmla="*/ 258 w 510"/>
                <a:gd name="T25" fmla="*/ 20 h 388"/>
                <a:gd name="T26" fmla="*/ 232 w 510"/>
                <a:gd name="T27" fmla="*/ 10 h 388"/>
                <a:gd name="T28" fmla="*/ 90 w 510"/>
                <a:gd name="T29" fmla="*/ 10 h 388"/>
                <a:gd name="T30" fmla="*/ 62 w 510"/>
                <a:gd name="T31" fmla="*/ 24 h 388"/>
                <a:gd name="T32" fmla="*/ 52 w 510"/>
                <a:gd name="T33" fmla="*/ 32 h 388"/>
                <a:gd name="T34" fmla="*/ 22 w 510"/>
                <a:gd name="T35" fmla="*/ 44 h 388"/>
                <a:gd name="T36" fmla="*/ 10 w 510"/>
                <a:gd name="T37" fmla="*/ 64 h 388"/>
                <a:gd name="T38" fmla="*/ 38 w 510"/>
                <a:gd name="T39" fmla="*/ 112 h 388"/>
                <a:gd name="T40" fmla="*/ 60 w 510"/>
                <a:gd name="T41" fmla="*/ 124 h 388"/>
                <a:gd name="T42" fmla="*/ 72 w 510"/>
                <a:gd name="T43" fmla="*/ 146 h 388"/>
                <a:gd name="T44" fmla="*/ 90 w 510"/>
                <a:gd name="T45" fmla="*/ 164 h 388"/>
                <a:gd name="T46" fmla="*/ 124 w 510"/>
                <a:gd name="T47" fmla="*/ 186 h 388"/>
                <a:gd name="T48" fmla="*/ 136 w 510"/>
                <a:gd name="T49" fmla="*/ 204 h 388"/>
                <a:gd name="T50" fmla="*/ 168 w 510"/>
                <a:gd name="T51" fmla="*/ 238 h 388"/>
                <a:gd name="T52" fmla="*/ 180 w 510"/>
                <a:gd name="T53" fmla="*/ 250 h 388"/>
                <a:gd name="T54" fmla="*/ 190 w 510"/>
                <a:gd name="T55" fmla="*/ 260 h 388"/>
                <a:gd name="T56" fmla="*/ 222 w 510"/>
                <a:gd name="T57" fmla="*/ 282 h 388"/>
                <a:gd name="T58" fmla="*/ 238 w 510"/>
                <a:gd name="T59" fmla="*/ 324 h 388"/>
                <a:gd name="T60" fmla="*/ 272 w 510"/>
                <a:gd name="T61" fmla="*/ 356 h 388"/>
                <a:gd name="T62" fmla="*/ 302 w 510"/>
                <a:gd name="T63" fmla="*/ 388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10" h="388">
                  <a:moveTo>
                    <a:pt x="302" y="388"/>
                  </a:moveTo>
                  <a:lnTo>
                    <a:pt x="298" y="378"/>
                  </a:lnTo>
                  <a:lnTo>
                    <a:pt x="300" y="374"/>
                  </a:lnTo>
                  <a:lnTo>
                    <a:pt x="316" y="362"/>
                  </a:lnTo>
                  <a:lnTo>
                    <a:pt x="326" y="360"/>
                  </a:lnTo>
                  <a:lnTo>
                    <a:pt x="332" y="352"/>
                  </a:lnTo>
                  <a:lnTo>
                    <a:pt x="314" y="328"/>
                  </a:lnTo>
                  <a:lnTo>
                    <a:pt x="312" y="324"/>
                  </a:lnTo>
                  <a:lnTo>
                    <a:pt x="314" y="320"/>
                  </a:lnTo>
                  <a:lnTo>
                    <a:pt x="374" y="310"/>
                  </a:lnTo>
                  <a:lnTo>
                    <a:pt x="382" y="306"/>
                  </a:lnTo>
                  <a:lnTo>
                    <a:pt x="420" y="262"/>
                  </a:lnTo>
                  <a:lnTo>
                    <a:pt x="424" y="262"/>
                  </a:lnTo>
                  <a:lnTo>
                    <a:pt x="432" y="254"/>
                  </a:lnTo>
                  <a:lnTo>
                    <a:pt x="434" y="240"/>
                  </a:lnTo>
                  <a:lnTo>
                    <a:pt x="450" y="232"/>
                  </a:lnTo>
                  <a:lnTo>
                    <a:pt x="460" y="220"/>
                  </a:lnTo>
                  <a:lnTo>
                    <a:pt x="464" y="208"/>
                  </a:lnTo>
                  <a:lnTo>
                    <a:pt x="458" y="198"/>
                  </a:lnTo>
                  <a:lnTo>
                    <a:pt x="468" y="186"/>
                  </a:lnTo>
                  <a:lnTo>
                    <a:pt x="486" y="146"/>
                  </a:lnTo>
                  <a:lnTo>
                    <a:pt x="510" y="130"/>
                  </a:lnTo>
                  <a:lnTo>
                    <a:pt x="510" y="120"/>
                  </a:lnTo>
                  <a:lnTo>
                    <a:pt x="376" y="20"/>
                  </a:lnTo>
                  <a:lnTo>
                    <a:pt x="260" y="38"/>
                  </a:lnTo>
                  <a:lnTo>
                    <a:pt x="258" y="20"/>
                  </a:lnTo>
                  <a:lnTo>
                    <a:pt x="240" y="2"/>
                  </a:lnTo>
                  <a:lnTo>
                    <a:pt x="232" y="10"/>
                  </a:lnTo>
                  <a:lnTo>
                    <a:pt x="228" y="0"/>
                  </a:lnTo>
                  <a:lnTo>
                    <a:pt x="90" y="10"/>
                  </a:lnTo>
                  <a:lnTo>
                    <a:pt x="86" y="16"/>
                  </a:lnTo>
                  <a:lnTo>
                    <a:pt x="62" y="24"/>
                  </a:lnTo>
                  <a:lnTo>
                    <a:pt x="56" y="34"/>
                  </a:lnTo>
                  <a:lnTo>
                    <a:pt x="52" y="32"/>
                  </a:lnTo>
                  <a:lnTo>
                    <a:pt x="20" y="44"/>
                  </a:lnTo>
                  <a:lnTo>
                    <a:pt x="22" y="44"/>
                  </a:lnTo>
                  <a:lnTo>
                    <a:pt x="20" y="56"/>
                  </a:lnTo>
                  <a:lnTo>
                    <a:pt x="10" y="64"/>
                  </a:lnTo>
                  <a:lnTo>
                    <a:pt x="0" y="86"/>
                  </a:lnTo>
                  <a:lnTo>
                    <a:pt x="38" y="112"/>
                  </a:lnTo>
                  <a:lnTo>
                    <a:pt x="52" y="110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72" y="146"/>
                  </a:lnTo>
                  <a:lnTo>
                    <a:pt x="90" y="164"/>
                  </a:lnTo>
                  <a:lnTo>
                    <a:pt x="90" y="164"/>
                  </a:lnTo>
                  <a:lnTo>
                    <a:pt x="94" y="172"/>
                  </a:lnTo>
                  <a:lnTo>
                    <a:pt x="124" y="186"/>
                  </a:lnTo>
                  <a:lnTo>
                    <a:pt x="136" y="204"/>
                  </a:lnTo>
                  <a:lnTo>
                    <a:pt x="136" y="204"/>
                  </a:lnTo>
                  <a:lnTo>
                    <a:pt x="168" y="224"/>
                  </a:lnTo>
                  <a:lnTo>
                    <a:pt x="168" y="238"/>
                  </a:lnTo>
                  <a:lnTo>
                    <a:pt x="180" y="242"/>
                  </a:lnTo>
                  <a:lnTo>
                    <a:pt x="180" y="250"/>
                  </a:lnTo>
                  <a:lnTo>
                    <a:pt x="190" y="254"/>
                  </a:lnTo>
                  <a:lnTo>
                    <a:pt x="190" y="260"/>
                  </a:lnTo>
                  <a:lnTo>
                    <a:pt x="222" y="276"/>
                  </a:lnTo>
                  <a:lnTo>
                    <a:pt x="222" y="282"/>
                  </a:lnTo>
                  <a:lnTo>
                    <a:pt x="236" y="306"/>
                  </a:lnTo>
                  <a:lnTo>
                    <a:pt x="238" y="324"/>
                  </a:lnTo>
                  <a:lnTo>
                    <a:pt x="256" y="332"/>
                  </a:lnTo>
                  <a:lnTo>
                    <a:pt x="272" y="356"/>
                  </a:lnTo>
                  <a:lnTo>
                    <a:pt x="274" y="380"/>
                  </a:lnTo>
                  <a:lnTo>
                    <a:pt x="302" y="388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1" name="Freeform 215"/>
            <p:cNvSpPr>
              <a:spLocks/>
            </p:cNvSpPr>
            <p:nvPr/>
          </p:nvSpPr>
          <p:spPr bwMode="auto">
            <a:xfrm>
              <a:off x="6966348" y="2622372"/>
              <a:ext cx="64294" cy="147638"/>
            </a:xfrm>
            <a:custGeom>
              <a:avLst/>
              <a:gdLst>
                <a:gd name="T0" fmla="*/ 10 w 54"/>
                <a:gd name="T1" fmla="*/ 18 h 124"/>
                <a:gd name="T2" fmla="*/ 18 w 54"/>
                <a:gd name="T3" fmla="*/ 20 h 124"/>
                <a:gd name="T4" fmla="*/ 18 w 54"/>
                <a:gd name="T5" fmla="*/ 30 h 124"/>
                <a:gd name="T6" fmla="*/ 10 w 54"/>
                <a:gd name="T7" fmla="*/ 34 h 124"/>
                <a:gd name="T8" fmla="*/ 0 w 54"/>
                <a:gd name="T9" fmla="*/ 88 h 124"/>
                <a:gd name="T10" fmla="*/ 10 w 54"/>
                <a:gd name="T11" fmla="*/ 120 h 124"/>
                <a:gd name="T12" fmla="*/ 16 w 54"/>
                <a:gd name="T13" fmla="*/ 124 h 124"/>
                <a:gd name="T14" fmla="*/ 24 w 54"/>
                <a:gd name="T15" fmla="*/ 122 h 124"/>
                <a:gd name="T16" fmla="*/ 28 w 54"/>
                <a:gd name="T17" fmla="*/ 116 h 124"/>
                <a:gd name="T18" fmla="*/ 54 w 54"/>
                <a:gd name="T19" fmla="*/ 0 h 124"/>
                <a:gd name="T20" fmla="*/ 10 w 54"/>
                <a:gd name="T21" fmla="*/ 1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124">
                  <a:moveTo>
                    <a:pt x="10" y="18"/>
                  </a:moveTo>
                  <a:lnTo>
                    <a:pt x="18" y="20"/>
                  </a:lnTo>
                  <a:lnTo>
                    <a:pt x="18" y="30"/>
                  </a:lnTo>
                  <a:lnTo>
                    <a:pt x="10" y="34"/>
                  </a:lnTo>
                  <a:lnTo>
                    <a:pt x="0" y="88"/>
                  </a:lnTo>
                  <a:lnTo>
                    <a:pt x="10" y="120"/>
                  </a:lnTo>
                  <a:lnTo>
                    <a:pt x="16" y="124"/>
                  </a:lnTo>
                  <a:lnTo>
                    <a:pt x="24" y="122"/>
                  </a:lnTo>
                  <a:lnTo>
                    <a:pt x="28" y="116"/>
                  </a:lnTo>
                  <a:lnTo>
                    <a:pt x="54" y="0"/>
                  </a:lnTo>
                  <a:lnTo>
                    <a:pt x="10" y="18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2" name="Freeform 216"/>
            <p:cNvSpPr>
              <a:spLocks/>
            </p:cNvSpPr>
            <p:nvPr/>
          </p:nvSpPr>
          <p:spPr bwMode="auto">
            <a:xfrm>
              <a:off x="1735933" y="810241"/>
              <a:ext cx="783431" cy="583406"/>
            </a:xfrm>
            <a:custGeom>
              <a:avLst/>
              <a:gdLst>
                <a:gd name="T0" fmla="*/ 658 w 658"/>
                <a:gd name="T1" fmla="*/ 124 h 490"/>
                <a:gd name="T2" fmla="*/ 588 w 658"/>
                <a:gd name="T3" fmla="*/ 470 h 490"/>
                <a:gd name="T4" fmla="*/ 584 w 658"/>
                <a:gd name="T5" fmla="*/ 490 h 490"/>
                <a:gd name="T6" fmla="*/ 394 w 658"/>
                <a:gd name="T7" fmla="*/ 450 h 490"/>
                <a:gd name="T8" fmla="*/ 342 w 658"/>
                <a:gd name="T9" fmla="*/ 448 h 490"/>
                <a:gd name="T10" fmla="*/ 290 w 658"/>
                <a:gd name="T11" fmla="*/ 450 h 490"/>
                <a:gd name="T12" fmla="*/ 258 w 658"/>
                <a:gd name="T13" fmla="*/ 440 h 490"/>
                <a:gd name="T14" fmla="*/ 196 w 658"/>
                <a:gd name="T15" fmla="*/ 428 h 490"/>
                <a:gd name="T16" fmla="*/ 136 w 658"/>
                <a:gd name="T17" fmla="*/ 420 h 490"/>
                <a:gd name="T18" fmla="*/ 72 w 658"/>
                <a:gd name="T19" fmla="*/ 398 h 490"/>
                <a:gd name="T20" fmla="*/ 76 w 658"/>
                <a:gd name="T21" fmla="*/ 346 h 490"/>
                <a:gd name="T22" fmla="*/ 8 w 658"/>
                <a:gd name="T23" fmla="*/ 292 h 490"/>
                <a:gd name="T24" fmla="*/ 8 w 658"/>
                <a:gd name="T25" fmla="*/ 248 h 490"/>
                <a:gd name="T26" fmla="*/ 8 w 658"/>
                <a:gd name="T27" fmla="*/ 272 h 490"/>
                <a:gd name="T28" fmla="*/ 16 w 658"/>
                <a:gd name="T29" fmla="*/ 270 h 490"/>
                <a:gd name="T30" fmla="*/ 24 w 658"/>
                <a:gd name="T31" fmla="*/ 236 h 490"/>
                <a:gd name="T32" fmla="*/ 14 w 658"/>
                <a:gd name="T33" fmla="*/ 232 h 490"/>
                <a:gd name="T34" fmla="*/ 16 w 658"/>
                <a:gd name="T35" fmla="*/ 218 h 490"/>
                <a:gd name="T36" fmla="*/ 28 w 658"/>
                <a:gd name="T37" fmla="*/ 202 h 490"/>
                <a:gd name="T38" fmla="*/ 16 w 658"/>
                <a:gd name="T39" fmla="*/ 200 h 490"/>
                <a:gd name="T40" fmla="*/ 18 w 658"/>
                <a:gd name="T41" fmla="*/ 98 h 490"/>
                <a:gd name="T42" fmla="*/ 8 w 658"/>
                <a:gd name="T43" fmla="*/ 54 h 490"/>
                <a:gd name="T44" fmla="*/ 22 w 658"/>
                <a:gd name="T45" fmla="*/ 28 h 490"/>
                <a:gd name="T46" fmla="*/ 82 w 658"/>
                <a:gd name="T47" fmla="*/ 64 h 490"/>
                <a:gd name="T48" fmla="*/ 152 w 658"/>
                <a:gd name="T49" fmla="*/ 98 h 490"/>
                <a:gd name="T50" fmla="*/ 172 w 658"/>
                <a:gd name="T51" fmla="*/ 114 h 490"/>
                <a:gd name="T52" fmla="*/ 162 w 658"/>
                <a:gd name="T53" fmla="*/ 130 h 490"/>
                <a:gd name="T54" fmla="*/ 124 w 658"/>
                <a:gd name="T55" fmla="*/ 162 h 490"/>
                <a:gd name="T56" fmla="*/ 132 w 658"/>
                <a:gd name="T57" fmla="*/ 184 h 490"/>
                <a:gd name="T58" fmla="*/ 132 w 658"/>
                <a:gd name="T59" fmla="*/ 172 h 490"/>
                <a:gd name="T60" fmla="*/ 156 w 658"/>
                <a:gd name="T61" fmla="*/ 158 h 490"/>
                <a:gd name="T62" fmla="*/ 184 w 658"/>
                <a:gd name="T63" fmla="*/ 138 h 490"/>
                <a:gd name="T64" fmla="*/ 188 w 658"/>
                <a:gd name="T65" fmla="*/ 152 h 490"/>
                <a:gd name="T66" fmla="*/ 206 w 658"/>
                <a:gd name="T67" fmla="*/ 112 h 490"/>
                <a:gd name="T68" fmla="*/ 192 w 658"/>
                <a:gd name="T69" fmla="*/ 64 h 490"/>
                <a:gd name="T70" fmla="*/ 200 w 658"/>
                <a:gd name="T71" fmla="*/ 62 h 490"/>
                <a:gd name="T72" fmla="*/ 214 w 658"/>
                <a:gd name="T73" fmla="*/ 40 h 490"/>
                <a:gd name="T74" fmla="*/ 222 w 658"/>
                <a:gd name="T75" fmla="*/ 44 h 490"/>
                <a:gd name="T76" fmla="*/ 222 w 658"/>
                <a:gd name="T77" fmla="*/ 36 h 490"/>
                <a:gd name="T78" fmla="*/ 200 w 658"/>
                <a:gd name="T79" fmla="*/ 26 h 490"/>
                <a:gd name="T80" fmla="*/ 194 w 658"/>
                <a:gd name="T81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58" h="490">
                  <a:moveTo>
                    <a:pt x="286" y="26"/>
                  </a:moveTo>
                  <a:lnTo>
                    <a:pt x="658" y="124"/>
                  </a:lnTo>
                  <a:lnTo>
                    <a:pt x="582" y="442"/>
                  </a:lnTo>
                  <a:lnTo>
                    <a:pt x="588" y="470"/>
                  </a:lnTo>
                  <a:lnTo>
                    <a:pt x="580" y="478"/>
                  </a:lnTo>
                  <a:lnTo>
                    <a:pt x="584" y="490"/>
                  </a:lnTo>
                  <a:lnTo>
                    <a:pt x="404" y="446"/>
                  </a:lnTo>
                  <a:lnTo>
                    <a:pt x="394" y="450"/>
                  </a:lnTo>
                  <a:lnTo>
                    <a:pt x="352" y="442"/>
                  </a:lnTo>
                  <a:lnTo>
                    <a:pt x="342" y="448"/>
                  </a:lnTo>
                  <a:lnTo>
                    <a:pt x="316" y="446"/>
                  </a:lnTo>
                  <a:lnTo>
                    <a:pt x="290" y="450"/>
                  </a:lnTo>
                  <a:lnTo>
                    <a:pt x="268" y="448"/>
                  </a:lnTo>
                  <a:lnTo>
                    <a:pt x="258" y="440"/>
                  </a:lnTo>
                  <a:lnTo>
                    <a:pt x="206" y="442"/>
                  </a:lnTo>
                  <a:lnTo>
                    <a:pt x="196" y="428"/>
                  </a:lnTo>
                  <a:lnTo>
                    <a:pt x="154" y="414"/>
                  </a:lnTo>
                  <a:lnTo>
                    <a:pt x="136" y="420"/>
                  </a:lnTo>
                  <a:lnTo>
                    <a:pt x="108" y="422"/>
                  </a:lnTo>
                  <a:lnTo>
                    <a:pt x="72" y="398"/>
                  </a:lnTo>
                  <a:lnTo>
                    <a:pt x="78" y="360"/>
                  </a:lnTo>
                  <a:lnTo>
                    <a:pt x="76" y="346"/>
                  </a:lnTo>
                  <a:lnTo>
                    <a:pt x="42" y="302"/>
                  </a:lnTo>
                  <a:lnTo>
                    <a:pt x="8" y="292"/>
                  </a:lnTo>
                  <a:lnTo>
                    <a:pt x="0" y="282"/>
                  </a:lnTo>
                  <a:lnTo>
                    <a:pt x="8" y="248"/>
                  </a:lnTo>
                  <a:lnTo>
                    <a:pt x="12" y="254"/>
                  </a:lnTo>
                  <a:lnTo>
                    <a:pt x="8" y="272"/>
                  </a:lnTo>
                  <a:lnTo>
                    <a:pt x="14" y="274"/>
                  </a:lnTo>
                  <a:lnTo>
                    <a:pt x="16" y="270"/>
                  </a:lnTo>
                  <a:lnTo>
                    <a:pt x="24" y="240"/>
                  </a:lnTo>
                  <a:lnTo>
                    <a:pt x="24" y="236"/>
                  </a:lnTo>
                  <a:lnTo>
                    <a:pt x="18" y="236"/>
                  </a:lnTo>
                  <a:lnTo>
                    <a:pt x="14" y="232"/>
                  </a:lnTo>
                  <a:lnTo>
                    <a:pt x="12" y="228"/>
                  </a:lnTo>
                  <a:lnTo>
                    <a:pt x="16" y="218"/>
                  </a:lnTo>
                  <a:lnTo>
                    <a:pt x="24" y="210"/>
                  </a:lnTo>
                  <a:lnTo>
                    <a:pt x="28" y="202"/>
                  </a:lnTo>
                  <a:lnTo>
                    <a:pt x="26" y="192"/>
                  </a:lnTo>
                  <a:lnTo>
                    <a:pt x="16" y="200"/>
                  </a:lnTo>
                  <a:lnTo>
                    <a:pt x="14" y="198"/>
                  </a:lnTo>
                  <a:lnTo>
                    <a:pt x="18" y="98"/>
                  </a:lnTo>
                  <a:lnTo>
                    <a:pt x="8" y="66"/>
                  </a:lnTo>
                  <a:lnTo>
                    <a:pt x="8" y="54"/>
                  </a:lnTo>
                  <a:lnTo>
                    <a:pt x="14" y="40"/>
                  </a:lnTo>
                  <a:lnTo>
                    <a:pt x="22" y="28"/>
                  </a:lnTo>
                  <a:lnTo>
                    <a:pt x="30" y="22"/>
                  </a:lnTo>
                  <a:lnTo>
                    <a:pt x="82" y="64"/>
                  </a:lnTo>
                  <a:lnTo>
                    <a:pt x="134" y="84"/>
                  </a:lnTo>
                  <a:lnTo>
                    <a:pt x="152" y="98"/>
                  </a:lnTo>
                  <a:lnTo>
                    <a:pt x="170" y="102"/>
                  </a:lnTo>
                  <a:lnTo>
                    <a:pt x="172" y="114"/>
                  </a:lnTo>
                  <a:lnTo>
                    <a:pt x="164" y="128"/>
                  </a:lnTo>
                  <a:lnTo>
                    <a:pt x="162" y="130"/>
                  </a:lnTo>
                  <a:lnTo>
                    <a:pt x="152" y="132"/>
                  </a:lnTo>
                  <a:lnTo>
                    <a:pt x="124" y="162"/>
                  </a:lnTo>
                  <a:lnTo>
                    <a:pt x="120" y="180"/>
                  </a:lnTo>
                  <a:lnTo>
                    <a:pt x="132" y="184"/>
                  </a:lnTo>
                  <a:lnTo>
                    <a:pt x="136" y="174"/>
                  </a:lnTo>
                  <a:lnTo>
                    <a:pt x="132" y="172"/>
                  </a:lnTo>
                  <a:lnTo>
                    <a:pt x="138" y="166"/>
                  </a:lnTo>
                  <a:lnTo>
                    <a:pt x="156" y="158"/>
                  </a:lnTo>
                  <a:lnTo>
                    <a:pt x="174" y="140"/>
                  </a:lnTo>
                  <a:lnTo>
                    <a:pt x="184" y="138"/>
                  </a:lnTo>
                  <a:lnTo>
                    <a:pt x="186" y="142"/>
                  </a:lnTo>
                  <a:lnTo>
                    <a:pt x="188" y="152"/>
                  </a:lnTo>
                  <a:lnTo>
                    <a:pt x="190" y="154"/>
                  </a:lnTo>
                  <a:lnTo>
                    <a:pt x="206" y="112"/>
                  </a:lnTo>
                  <a:lnTo>
                    <a:pt x="204" y="80"/>
                  </a:lnTo>
                  <a:lnTo>
                    <a:pt x="192" y="64"/>
                  </a:lnTo>
                  <a:lnTo>
                    <a:pt x="192" y="62"/>
                  </a:lnTo>
                  <a:lnTo>
                    <a:pt x="200" y="62"/>
                  </a:lnTo>
                  <a:lnTo>
                    <a:pt x="208" y="54"/>
                  </a:lnTo>
                  <a:lnTo>
                    <a:pt x="214" y="40"/>
                  </a:lnTo>
                  <a:lnTo>
                    <a:pt x="218" y="40"/>
                  </a:lnTo>
                  <a:lnTo>
                    <a:pt x="222" y="44"/>
                  </a:lnTo>
                  <a:lnTo>
                    <a:pt x="226" y="44"/>
                  </a:lnTo>
                  <a:lnTo>
                    <a:pt x="222" y="36"/>
                  </a:lnTo>
                  <a:lnTo>
                    <a:pt x="210" y="28"/>
                  </a:lnTo>
                  <a:lnTo>
                    <a:pt x="200" y="26"/>
                  </a:lnTo>
                  <a:lnTo>
                    <a:pt x="196" y="14"/>
                  </a:lnTo>
                  <a:lnTo>
                    <a:pt x="194" y="0"/>
                  </a:lnTo>
                  <a:lnTo>
                    <a:pt x="286" y="2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3" name="Freeform 218"/>
            <p:cNvSpPr>
              <a:spLocks/>
            </p:cNvSpPr>
            <p:nvPr/>
          </p:nvSpPr>
          <p:spPr bwMode="auto">
            <a:xfrm>
              <a:off x="4627961" y="2467591"/>
              <a:ext cx="790575" cy="689372"/>
            </a:xfrm>
            <a:custGeom>
              <a:avLst/>
              <a:gdLst>
                <a:gd name="T0" fmla="*/ 0 w 664"/>
                <a:gd name="T1" fmla="*/ 6 h 579"/>
                <a:gd name="T2" fmla="*/ 6 w 664"/>
                <a:gd name="T3" fmla="*/ 16 h 579"/>
                <a:gd name="T4" fmla="*/ 28 w 664"/>
                <a:gd name="T5" fmla="*/ 52 h 579"/>
                <a:gd name="T6" fmla="*/ 34 w 664"/>
                <a:gd name="T7" fmla="*/ 68 h 579"/>
                <a:gd name="T8" fmla="*/ 62 w 664"/>
                <a:gd name="T9" fmla="*/ 100 h 579"/>
                <a:gd name="T10" fmla="*/ 86 w 664"/>
                <a:gd name="T11" fmla="*/ 116 h 579"/>
                <a:gd name="T12" fmla="*/ 62 w 664"/>
                <a:gd name="T13" fmla="*/ 140 h 579"/>
                <a:gd name="T14" fmla="*/ 90 w 664"/>
                <a:gd name="T15" fmla="*/ 184 h 579"/>
                <a:gd name="T16" fmla="*/ 112 w 664"/>
                <a:gd name="T17" fmla="*/ 527 h 579"/>
                <a:gd name="T18" fmla="*/ 572 w 664"/>
                <a:gd name="T19" fmla="*/ 531 h 579"/>
                <a:gd name="T20" fmla="*/ 542 w 664"/>
                <a:gd name="T21" fmla="*/ 579 h 579"/>
                <a:gd name="T22" fmla="*/ 620 w 664"/>
                <a:gd name="T23" fmla="*/ 559 h 579"/>
                <a:gd name="T24" fmla="*/ 624 w 664"/>
                <a:gd name="T25" fmla="*/ 543 h 579"/>
                <a:gd name="T26" fmla="*/ 626 w 664"/>
                <a:gd name="T27" fmla="*/ 527 h 579"/>
                <a:gd name="T28" fmla="*/ 628 w 664"/>
                <a:gd name="T29" fmla="*/ 505 h 579"/>
                <a:gd name="T30" fmla="*/ 640 w 664"/>
                <a:gd name="T31" fmla="*/ 495 h 579"/>
                <a:gd name="T32" fmla="*/ 664 w 664"/>
                <a:gd name="T33" fmla="*/ 475 h 579"/>
                <a:gd name="T34" fmla="*/ 656 w 664"/>
                <a:gd name="T35" fmla="*/ 449 h 579"/>
                <a:gd name="T36" fmla="*/ 644 w 664"/>
                <a:gd name="T37" fmla="*/ 437 h 579"/>
                <a:gd name="T38" fmla="*/ 636 w 664"/>
                <a:gd name="T39" fmla="*/ 441 h 579"/>
                <a:gd name="T40" fmla="*/ 620 w 664"/>
                <a:gd name="T41" fmla="*/ 415 h 579"/>
                <a:gd name="T42" fmla="*/ 618 w 664"/>
                <a:gd name="T43" fmla="*/ 377 h 579"/>
                <a:gd name="T44" fmla="*/ 576 w 664"/>
                <a:gd name="T45" fmla="*/ 329 h 579"/>
                <a:gd name="T46" fmla="*/ 532 w 664"/>
                <a:gd name="T47" fmla="*/ 297 h 579"/>
                <a:gd name="T48" fmla="*/ 546 w 664"/>
                <a:gd name="T49" fmla="*/ 246 h 579"/>
                <a:gd name="T50" fmla="*/ 550 w 664"/>
                <a:gd name="T51" fmla="*/ 222 h 579"/>
                <a:gd name="T52" fmla="*/ 536 w 664"/>
                <a:gd name="T53" fmla="*/ 208 h 579"/>
                <a:gd name="T54" fmla="*/ 508 w 664"/>
                <a:gd name="T55" fmla="*/ 216 h 579"/>
                <a:gd name="T56" fmla="*/ 494 w 664"/>
                <a:gd name="T57" fmla="*/ 204 h 579"/>
                <a:gd name="T58" fmla="*/ 458 w 664"/>
                <a:gd name="T59" fmla="*/ 146 h 579"/>
                <a:gd name="T60" fmla="*/ 424 w 664"/>
                <a:gd name="T61" fmla="*/ 112 h 579"/>
                <a:gd name="T62" fmla="*/ 412 w 664"/>
                <a:gd name="T63" fmla="*/ 30 h 579"/>
                <a:gd name="T64" fmla="*/ 326 w 664"/>
                <a:gd name="T65" fmla="*/ 2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64" h="579">
                  <a:moveTo>
                    <a:pt x="326" y="2"/>
                  </a:moveTo>
                  <a:lnTo>
                    <a:pt x="0" y="6"/>
                  </a:lnTo>
                  <a:lnTo>
                    <a:pt x="0" y="14"/>
                  </a:lnTo>
                  <a:lnTo>
                    <a:pt x="6" y="16"/>
                  </a:lnTo>
                  <a:lnTo>
                    <a:pt x="10" y="44"/>
                  </a:lnTo>
                  <a:lnTo>
                    <a:pt x="28" y="52"/>
                  </a:lnTo>
                  <a:lnTo>
                    <a:pt x="26" y="58"/>
                  </a:lnTo>
                  <a:lnTo>
                    <a:pt x="34" y="68"/>
                  </a:lnTo>
                  <a:lnTo>
                    <a:pt x="32" y="78"/>
                  </a:lnTo>
                  <a:lnTo>
                    <a:pt x="62" y="100"/>
                  </a:lnTo>
                  <a:lnTo>
                    <a:pt x="78" y="96"/>
                  </a:lnTo>
                  <a:lnTo>
                    <a:pt x="86" y="116"/>
                  </a:lnTo>
                  <a:lnTo>
                    <a:pt x="76" y="116"/>
                  </a:lnTo>
                  <a:lnTo>
                    <a:pt x="62" y="140"/>
                  </a:lnTo>
                  <a:lnTo>
                    <a:pt x="82" y="162"/>
                  </a:lnTo>
                  <a:lnTo>
                    <a:pt x="90" y="184"/>
                  </a:lnTo>
                  <a:lnTo>
                    <a:pt x="110" y="190"/>
                  </a:lnTo>
                  <a:lnTo>
                    <a:pt x="112" y="527"/>
                  </a:lnTo>
                  <a:lnTo>
                    <a:pt x="562" y="513"/>
                  </a:lnTo>
                  <a:lnTo>
                    <a:pt x="572" y="531"/>
                  </a:lnTo>
                  <a:lnTo>
                    <a:pt x="572" y="541"/>
                  </a:lnTo>
                  <a:lnTo>
                    <a:pt x="542" y="579"/>
                  </a:lnTo>
                  <a:lnTo>
                    <a:pt x="608" y="577"/>
                  </a:lnTo>
                  <a:lnTo>
                    <a:pt x="620" y="559"/>
                  </a:lnTo>
                  <a:lnTo>
                    <a:pt x="612" y="545"/>
                  </a:lnTo>
                  <a:lnTo>
                    <a:pt x="624" y="543"/>
                  </a:lnTo>
                  <a:lnTo>
                    <a:pt x="616" y="535"/>
                  </a:lnTo>
                  <a:lnTo>
                    <a:pt x="626" y="527"/>
                  </a:lnTo>
                  <a:lnTo>
                    <a:pt x="622" y="507"/>
                  </a:lnTo>
                  <a:lnTo>
                    <a:pt x="628" y="505"/>
                  </a:lnTo>
                  <a:lnTo>
                    <a:pt x="632" y="519"/>
                  </a:lnTo>
                  <a:lnTo>
                    <a:pt x="640" y="495"/>
                  </a:lnTo>
                  <a:lnTo>
                    <a:pt x="654" y="501"/>
                  </a:lnTo>
                  <a:lnTo>
                    <a:pt x="664" y="475"/>
                  </a:lnTo>
                  <a:lnTo>
                    <a:pt x="664" y="451"/>
                  </a:lnTo>
                  <a:lnTo>
                    <a:pt x="656" y="449"/>
                  </a:lnTo>
                  <a:lnTo>
                    <a:pt x="648" y="435"/>
                  </a:lnTo>
                  <a:lnTo>
                    <a:pt x="644" y="437"/>
                  </a:lnTo>
                  <a:lnTo>
                    <a:pt x="648" y="447"/>
                  </a:lnTo>
                  <a:lnTo>
                    <a:pt x="636" y="441"/>
                  </a:lnTo>
                  <a:lnTo>
                    <a:pt x="626" y="417"/>
                  </a:lnTo>
                  <a:lnTo>
                    <a:pt x="620" y="415"/>
                  </a:lnTo>
                  <a:lnTo>
                    <a:pt x="628" y="395"/>
                  </a:lnTo>
                  <a:lnTo>
                    <a:pt x="618" y="377"/>
                  </a:lnTo>
                  <a:lnTo>
                    <a:pt x="618" y="361"/>
                  </a:lnTo>
                  <a:lnTo>
                    <a:pt x="576" y="329"/>
                  </a:lnTo>
                  <a:lnTo>
                    <a:pt x="564" y="327"/>
                  </a:lnTo>
                  <a:lnTo>
                    <a:pt x="532" y="297"/>
                  </a:lnTo>
                  <a:lnTo>
                    <a:pt x="528" y="281"/>
                  </a:lnTo>
                  <a:lnTo>
                    <a:pt x="546" y="246"/>
                  </a:lnTo>
                  <a:lnTo>
                    <a:pt x="544" y="234"/>
                  </a:lnTo>
                  <a:lnTo>
                    <a:pt x="550" y="222"/>
                  </a:lnTo>
                  <a:lnTo>
                    <a:pt x="550" y="218"/>
                  </a:lnTo>
                  <a:lnTo>
                    <a:pt x="536" y="208"/>
                  </a:lnTo>
                  <a:lnTo>
                    <a:pt x="518" y="204"/>
                  </a:lnTo>
                  <a:lnTo>
                    <a:pt x="508" y="216"/>
                  </a:lnTo>
                  <a:lnTo>
                    <a:pt x="500" y="214"/>
                  </a:lnTo>
                  <a:lnTo>
                    <a:pt x="494" y="204"/>
                  </a:lnTo>
                  <a:lnTo>
                    <a:pt x="482" y="164"/>
                  </a:lnTo>
                  <a:lnTo>
                    <a:pt x="458" y="146"/>
                  </a:lnTo>
                  <a:lnTo>
                    <a:pt x="452" y="134"/>
                  </a:lnTo>
                  <a:lnTo>
                    <a:pt x="424" y="112"/>
                  </a:lnTo>
                  <a:lnTo>
                    <a:pt x="408" y="62"/>
                  </a:lnTo>
                  <a:lnTo>
                    <a:pt x="412" y="30"/>
                  </a:lnTo>
                  <a:lnTo>
                    <a:pt x="384" y="0"/>
                  </a:lnTo>
                  <a:lnTo>
                    <a:pt x="326" y="2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" name="Freeform 219"/>
            <p:cNvSpPr>
              <a:spLocks/>
            </p:cNvSpPr>
            <p:nvPr/>
          </p:nvSpPr>
          <p:spPr bwMode="auto">
            <a:xfrm>
              <a:off x="3767139" y="1172190"/>
              <a:ext cx="783431" cy="495300"/>
            </a:xfrm>
            <a:custGeom>
              <a:avLst/>
              <a:gdLst>
                <a:gd name="T0" fmla="*/ 590 w 658"/>
                <a:gd name="T1" fmla="*/ 34 h 416"/>
                <a:gd name="T2" fmla="*/ 260 w 658"/>
                <a:gd name="T3" fmla="*/ 18 h 416"/>
                <a:gd name="T4" fmla="*/ 36 w 658"/>
                <a:gd name="T5" fmla="*/ 0 h 416"/>
                <a:gd name="T6" fmla="*/ 0 w 658"/>
                <a:gd name="T7" fmla="*/ 378 h 416"/>
                <a:gd name="T8" fmla="*/ 620 w 658"/>
                <a:gd name="T9" fmla="*/ 414 h 416"/>
                <a:gd name="T10" fmla="*/ 658 w 658"/>
                <a:gd name="T11" fmla="*/ 416 h 416"/>
                <a:gd name="T12" fmla="*/ 656 w 658"/>
                <a:gd name="T13" fmla="*/ 368 h 416"/>
                <a:gd name="T14" fmla="*/ 646 w 658"/>
                <a:gd name="T15" fmla="*/ 352 h 416"/>
                <a:gd name="T16" fmla="*/ 638 w 658"/>
                <a:gd name="T17" fmla="*/ 326 h 416"/>
                <a:gd name="T18" fmla="*/ 644 w 658"/>
                <a:gd name="T19" fmla="*/ 292 h 416"/>
                <a:gd name="T20" fmla="*/ 640 w 658"/>
                <a:gd name="T21" fmla="*/ 290 h 416"/>
                <a:gd name="T22" fmla="*/ 636 w 658"/>
                <a:gd name="T23" fmla="*/ 206 h 416"/>
                <a:gd name="T24" fmla="*/ 614 w 658"/>
                <a:gd name="T25" fmla="*/ 136 h 416"/>
                <a:gd name="T26" fmla="*/ 614 w 658"/>
                <a:gd name="T27" fmla="*/ 86 h 416"/>
                <a:gd name="T28" fmla="*/ 618 w 658"/>
                <a:gd name="T29" fmla="*/ 72 h 416"/>
                <a:gd name="T30" fmla="*/ 608 w 658"/>
                <a:gd name="T31" fmla="*/ 34 h 416"/>
                <a:gd name="T32" fmla="*/ 608 w 658"/>
                <a:gd name="T33" fmla="*/ 34 h 416"/>
                <a:gd name="T34" fmla="*/ 590 w 658"/>
                <a:gd name="T35" fmla="*/ 34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8" h="416">
                  <a:moveTo>
                    <a:pt x="590" y="34"/>
                  </a:moveTo>
                  <a:lnTo>
                    <a:pt x="260" y="18"/>
                  </a:lnTo>
                  <a:lnTo>
                    <a:pt x="36" y="0"/>
                  </a:lnTo>
                  <a:lnTo>
                    <a:pt x="0" y="378"/>
                  </a:lnTo>
                  <a:lnTo>
                    <a:pt x="620" y="414"/>
                  </a:lnTo>
                  <a:lnTo>
                    <a:pt x="658" y="416"/>
                  </a:lnTo>
                  <a:lnTo>
                    <a:pt x="656" y="368"/>
                  </a:lnTo>
                  <a:lnTo>
                    <a:pt x="646" y="352"/>
                  </a:lnTo>
                  <a:lnTo>
                    <a:pt x="638" y="326"/>
                  </a:lnTo>
                  <a:lnTo>
                    <a:pt x="644" y="292"/>
                  </a:lnTo>
                  <a:lnTo>
                    <a:pt x="640" y="290"/>
                  </a:lnTo>
                  <a:lnTo>
                    <a:pt x="636" y="206"/>
                  </a:lnTo>
                  <a:lnTo>
                    <a:pt x="614" y="136"/>
                  </a:lnTo>
                  <a:lnTo>
                    <a:pt x="614" y="86"/>
                  </a:lnTo>
                  <a:lnTo>
                    <a:pt x="618" y="72"/>
                  </a:lnTo>
                  <a:lnTo>
                    <a:pt x="608" y="34"/>
                  </a:lnTo>
                  <a:lnTo>
                    <a:pt x="608" y="34"/>
                  </a:lnTo>
                  <a:lnTo>
                    <a:pt x="590" y="34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" name="Freeform 220"/>
            <p:cNvSpPr>
              <a:spLocks/>
            </p:cNvSpPr>
            <p:nvPr/>
          </p:nvSpPr>
          <p:spPr bwMode="auto">
            <a:xfrm>
              <a:off x="1838327" y="1896090"/>
              <a:ext cx="764381" cy="1179910"/>
            </a:xfrm>
            <a:custGeom>
              <a:avLst/>
              <a:gdLst>
                <a:gd name="T0" fmla="*/ 330 w 642"/>
                <a:gd name="T1" fmla="*/ 877 h 991"/>
                <a:gd name="T2" fmla="*/ 0 w 642"/>
                <a:gd name="T3" fmla="*/ 370 h 991"/>
                <a:gd name="T4" fmla="*/ 100 w 642"/>
                <a:gd name="T5" fmla="*/ 0 h 991"/>
                <a:gd name="T6" fmla="*/ 370 w 642"/>
                <a:gd name="T7" fmla="*/ 68 h 991"/>
                <a:gd name="T8" fmla="*/ 642 w 642"/>
                <a:gd name="T9" fmla="*/ 130 h 991"/>
                <a:gd name="T10" fmla="*/ 496 w 642"/>
                <a:gd name="T11" fmla="*/ 853 h 991"/>
                <a:gd name="T12" fmla="*/ 484 w 642"/>
                <a:gd name="T13" fmla="*/ 869 h 991"/>
                <a:gd name="T14" fmla="*/ 478 w 642"/>
                <a:gd name="T15" fmla="*/ 871 h 991"/>
                <a:gd name="T16" fmla="*/ 470 w 642"/>
                <a:gd name="T17" fmla="*/ 869 h 991"/>
                <a:gd name="T18" fmla="*/ 462 w 642"/>
                <a:gd name="T19" fmla="*/ 853 h 991"/>
                <a:gd name="T20" fmla="*/ 454 w 642"/>
                <a:gd name="T21" fmla="*/ 853 h 991"/>
                <a:gd name="T22" fmla="*/ 444 w 642"/>
                <a:gd name="T23" fmla="*/ 847 h 991"/>
                <a:gd name="T24" fmla="*/ 428 w 642"/>
                <a:gd name="T25" fmla="*/ 859 h 991"/>
                <a:gd name="T26" fmla="*/ 422 w 642"/>
                <a:gd name="T27" fmla="*/ 869 h 991"/>
                <a:gd name="T28" fmla="*/ 426 w 642"/>
                <a:gd name="T29" fmla="*/ 879 h 991"/>
                <a:gd name="T30" fmla="*/ 418 w 642"/>
                <a:gd name="T31" fmla="*/ 897 h 991"/>
                <a:gd name="T32" fmla="*/ 416 w 642"/>
                <a:gd name="T33" fmla="*/ 971 h 991"/>
                <a:gd name="T34" fmla="*/ 410 w 642"/>
                <a:gd name="T35" fmla="*/ 973 h 991"/>
                <a:gd name="T36" fmla="*/ 406 w 642"/>
                <a:gd name="T37" fmla="*/ 991 h 991"/>
                <a:gd name="T38" fmla="*/ 330 w 642"/>
                <a:gd name="T39" fmla="*/ 877 h 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2" h="991">
                  <a:moveTo>
                    <a:pt x="330" y="877"/>
                  </a:moveTo>
                  <a:lnTo>
                    <a:pt x="0" y="370"/>
                  </a:lnTo>
                  <a:lnTo>
                    <a:pt x="100" y="0"/>
                  </a:lnTo>
                  <a:lnTo>
                    <a:pt x="370" y="68"/>
                  </a:lnTo>
                  <a:lnTo>
                    <a:pt x="642" y="130"/>
                  </a:lnTo>
                  <a:lnTo>
                    <a:pt x="496" y="853"/>
                  </a:lnTo>
                  <a:lnTo>
                    <a:pt x="484" y="869"/>
                  </a:lnTo>
                  <a:lnTo>
                    <a:pt x="478" y="871"/>
                  </a:lnTo>
                  <a:lnTo>
                    <a:pt x="470" y="869"/>
                  </a:lnTo>
                  <a:lnTo>
                    <a:pt x="462" y="853"/>
                  </a:lnTo>
                  <a:lnTo>
                    <a:pt x="454" y="853"/>
                  </a:lnTo>
                  <a:lnTo>
                    <a:pt x="444" y="847"/>
                  </a:lnTo>
                  <a:lnTo>
                    <a:pt x="428" y="859"/>
                  </a:lnTo>
                  <a:lnTo>
                    <a:pt x="422" y="869"/>
                  </a:lnTo>
                  <a:lnTo>
                    <a:pt x="426" y="879"/>
                  </a:lnTo>
                  <a:lnTo>
                    <a:pt x="418" y="897"/>
                  </a:lnTo>
                  <a:lnTo>
                    <a:pt x="416" y="971"/>
                  </a:lnTo>
                  <a:lnTo>
                    <a:pt x="410" y="973"/>
                  </a:lnTo>
                  <a:lnTo>
                    <a:pt x="406" y="991"/>
                  </a:lnTo>
                  <a:lnTo>
                    <a:pt x="330" y="877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" name="Freeform 222"/>
            <p:cNvSpPr>
              <a:spLocks/>
            </p:cNvSpPr>
            <p:nvPr/>
          </p:nvSpPr>
          <p:spPr bwMode="auto">
            <a:xfrm>
              <a:off x="7233939" y="1072177"/>
              <a:ext cx="450056" cy="688181"/>
            </a:xfrm>
            <a:custGeom>
              <a:avLst/>
              <a:gdLst>
                <a:gd name="T0" fmla="*/ 0 w 378"/>
                <a:gd name="T1" fmla="*/ 318 h 578"/>
                <a:gd name="T2" fmla="*/ 30 w 378"/>
                <a:gd name="T3" fmla="*/ 312 h 578"/>
                <a:gd name="T4" fmla="*/ 30 w 378"/>
                <a:gd name="T5" fmla="*/ 300 h 578"/>
                <a:gd name="T6" fmla="*/ 42 w 378"/>
                <a:gd name="T7" fmla="*/ 298 h 578"/>
                <a:gd name="T8" fmla="*/ 36 w 378"/>
                <a:gd name="T9" fmla="*/ 280 h 578"/>
                <a:gd name="T10" fmla="*/ 50 w 378"/>
                <a:gd name="T11" fmla="*/ 256 h 578"/>
                <a:gd name="T12" fmla="*/ 68 w 378"/>
                <a:gd name="T13" fmla="*/ 24 h 578"/>
                <a:gd name="T14" fmla="*/ 86 w 378"/>
                <a:gd name="T15" fmla="*/ 14 h 578"/>
                <a:gd name="T16" fmla="*/ 110 w 378"/>
                <a:gd name="T17" fmla="*/ 34 h 578"/>
                <a:gd name="T18" fmla="*/ 156 w 378"/>
                <a:gd name="T19" fmla="*/ 22 h 578"/>
                <a:gd name="T20" fmla="*/ 174 w 378"/>
                <a:gd name="T21" fmla="*/ 0 h 578"/>
                <a:gd name="T22" fmla="*/ 272 w 378"/>
                <a:gd name="T23" fmla="*/ 190 h 578"/>
                <a:gd name="T24" fmla="*/ 312 w 378"/>
                <a:gd name="T25" fmla="*/ 228 h 578"/>
                <a:gd name="T26" fmla="*/ 334 w 378"/>
                <a:gd name="T27" fmla="*/ 238 h 578"/>
                <a:gd name="T28" fmla="*/ 354 w 378"/>
                <a:gd name="T29" fmla="*/ 234 h 578"/>
                <a:gd name="T30" fmla="*/ 366 w 378"/>
                <a:gd name="T31" fmla="*/ 252 h 578"/>
                <a:gd name="T32" fmla="*/ 364 w 378"/>
                <a:gd name="T33" fmla="*/ 268 h 578"/>
                <a:gd name="T34" fmla="*/ 378 w 378"/>
                <a:gd name="T35" fmla="*/ 274 h 578"/>
                <a:gd name="T36" fmla="*/ 370 w 378"/>
                <a:gd name="T37" fmla="*/ 292 h 578"/>
                <a:gd name="T38" fmla="*/ 354 w 378"/>
                <a:gd name="T39" fmla="*/ 302 h 578"/>
                <a:gd name="T40" fmla="*/ 340 w 378"/>
                <a:gd name="T41" fmla="*/ 314 h 578"/>
                <a:gd name="T42" fmla="*/ 314 w 378"/>
                <a:gd name="T43" fmla="*/ 338 h 578"/>
                <a:gd name="T44" fmla="*/ 298 w 378"/>
                <a:gd name="T45" fmla="*/ 348 h 578"/>
                <a:gd name="T46" fmla="*/ 286 w 378"/>
                <a:gd name="T47" fmla="*/ 370 h 578"/>
                <a:gd name="T48" fmla="*/ 262 w 378"/>
                <a:gd name="T49" fmla="*/ 368 h 578"/>
                <a:gd name="T50" fmla="*/ 248 w 378"/>
                <a:gd name="T51" fmla="*/ 372 h 578"/>
                <a:gd name="T52" fmla="*/ 236 w 378"/>
                <a:gd name="T53" fmla="*/ 354 h 578"/>
                <a:gd name="T54" fmla="*/ 228 w 378"/>
                <a:gd name="T55" fmla="*/ 358 h 578"/>
                <a:gd name="T56" fmla="*/ 224 w 378"/>
                <a:gd name="T57" fmla="*/ 384 h 578"/>
                <a:gd name="T58" fmla="*/ 222 w 378"/>
                <a:gd name="T59" fmla="*/ 408 h 578"/>
                <a:gd name="T60" fmla="*/ 216 w 378"/>
                <a:gd name="T61" fmla="*/ 426 h 578"/>
                <a:gd name="T62" fmla="*/ 200 w 378"/>
                <a:gd name="T63" fmla="*/ 434 h 578"/>
                <a:gd name="T64" fmla="*/ 190 w 378"/>
                <a:gd name="T65" fmla="*/ 452 h 578"/>
                <a:gd name="T66" fmla="*/ 180 w 378"/>
                <a:gd name="T67" fmla="*/ 446 h 578"/>
                <a:gd name="T68" fmla="*/ 176 w 378"/>
                <a:gd name="T69" fmla="*/ 464 h 578"/>
                <a:gd name="T70" fmla="*/ 170 w 378"/>
                <a:gd name="T71" fmla="*/ 472 h 578"/>
                <a:gd name="T72" fmla="*/ 154 w 378"/>
                <a:gd name="T73" fmla="*/ 462 h 578"/>
                <a:gd name="T74" fmla="*/ 134 w 378"/>
                <a:gd name="T75" fmla="*/ 488 h 578"/>
                <a:gd name="T76" fmla="*/ 120 w 378"/>
                <a:gd name="T77" fmla="*/ 552 h 578"/>
                <a:gd name="T78" fmla="*/ 90 w 378"/>
                <a:gd name="T79" fmla="*/ 570 h 578"/>
                <a:gd name="T80" fmla="*/ 68 w 378"/>
                <a:gd name="T81" fmla="*/ 544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78" h="578">
                  <a:moveTo>
                    <a:pt x="36" y="430"/>
                  </a:moveTo>
                  <a:lnTo>
                    <a:pt x="0" y="318"/>
                  </a:lnTo>
                  <a:lnTo>
                    <a:pt x="12" y="308"/>
                  </a:lnTo>
                  <a:lnTo>
                    <a:pt x="30" y="312"/>
                  </a:lnTo>
                  <a:lnTo>
                    <a:pt x="28" y="302"/>
                  </a:lnTo>
                  <a:lnTo>
                    <a:pt x="30" y="300"/>
                  </a:lnTo>
                  <a:lnTo>
                    <a:pt x="42" y="302"/>
                  </a:lnTo>
                  <a:lnTo>
                    <a:pt x="42" y="298"/>
                  </a:lnTo>
                  <a:lnTo>
                    <a:pt x="36" y="288"/>
                  </a:lnTo>
                  <a:lnTo>
                    <a:pt x="36" y="280"/>
                  </a:lnTo>
                  <a:lnTo>
                    <a:pt x="48" y="262"/>
                  </a:lnTo>
                  <a:lnTo>
                    <a:pt x="50" y="256"/>
                  </a:lnTo>
                  <a:lnTo>
                    <a:pt x="44" y="102"/>
                  </a:lnTo>
                  <a:lnTo>
                    <a:pt x="68" y="24"/>
                  </a:lnTo>
                  <a:lnTo>
                    <a:pt x="76" y="16"/>
                  </a:lnTo>
                  <a:lnTo>
                    <a:pt x="86" y="14"/>
                  </a:lnTo>
                  <a:lnTo>
                    <a:pt x="98" y="20"/>
                  </a:lnTo>
                  <a:lnTo>
                    <a:pt x="110" y="34"/>
                  </a:lnTo>
                  <a:lnTo>
                    <a:pt x="132" y="36"/>
                  </a:lnTo>
                  <a:lnTo>
                    <a:pt x="156" y="22"/>
                  </a:lnTo>
                  <a:lnTo>
                    <a:pt x="162" y="2"/>
                  </a:lnTo>
                  <a:lnTo>
                    <a:pt x="174" y="0"/>
                  </a:lnTo>
                  <a:lnTo>
                    <a:pt x="224" y="26"/>
                  </a:lnTo>
                  <a:lnTo>
                    <a:pt x="272" y="190"/>
                  </a:lnTo>
                  <a:lnTo>
                    <a:pt x="300" y="196"/>
                  </a:lnTo>
                  <a:lnTo>
                    <a:pt x="312" y="228"/>
                  </a:lnTo>
                  <a:lnTo>
                    <a:pt x="318" y="234"/>
                  </a:lnTo>
                  <a:lnTo>
                    <a:pt x="334" y="238"/>
                  </a:lnTo>
                  <a:lnTo>
                    <a:pt x="348" y="236"/>
                  </a:lnTo>
                  <a:lnTo>
                    <a:pt x="354" y="234"/>
                  </a:lnTo>
                  <a:lnTo>
                    <a:pt x="354" y="228"/>
                  </a:lnTo>
                  <a:lnTo>
                    <a:pt x="366" y="252"/>
                  </a:lnTo>
                  <a:lnTo>
                    <a:pt x="362" y="264"/>
                  </a:lnTo>
                  <a:lnTo>
                    <a:pt x="364" y="268"/>
                  </a:lnTo>
                  <a:lnTo>
                    <a:pt x="374" y="266"/>
                  </a:lnTo>
                  <a:lnTo>
                    <a:pt x="378" y="274"/>
                  </a:lnTo>
                  <a:lnTo>
                    <a:pt x="378" y="282"/>
                  </a:lnTo>
                  <a:lnTo>
                    <a:pt x="370" y="292"/>
                  </a:lnTo>
                  <a:lnTo>
                    <a:pt x="358" y="296"/>
                  </a:lnTo>
                  <a:lnTo>
                    <a:pt x="354" y="302"/>
                  </a:lnTo>
                  <a:lnTo>
                    <a:pt x="344" y="306"/>
                  </a:lnTo>
                  <a:lnTo>
                    <a:pt x="340" y="314"/>
                  </a:lnTo>
                  <a:lnTo>
                    <a:pt x="316" y="326"/>
                  </a:lnTo>
                  <a:lnTo>
                    <a:pt x="314" y="338"/>
                  </a:lnTo>
                  <a:lnTo>
                    <a:pt x="306" y="346"/>
                  </a:lnTo>
                  <a:lnTo>
                    <a:pt x="298" y="348"/>
                  </a:lnTo>
                  <a:lnTo>
                    <a:pt x="290" y="360"/>
                  </a:lnTo>
                  <a:lnTo>
                    <a:pt x="286" y="370"/>
                  </a:lnTo>
                  <a:lnTo>
                    <a:pt x="280" y="374"/>
                  </a:lnTo>
                  <a:lnTo>
                    <a:pt x="262" y="368"/>
                  </a:lnTo>
                  <a:lnTo>
                    <a:pt x="256" y="374"/>
                  </a:lnTo>
                  <a:lnTo>
                    <a:pt x="248" y="372"/>
                  </a:lnTo>
                  <a:lnTo>
                    <a:pt x="242" y="366"/>
                  </a:lnTo>
                  <a:lnTo>
                    <a:pt x="236" y="354"/>
                  </a:lnTo>
                  <a:lnTo>
                    <a:pt x="234" y="354"/>
                  </a:lnTo>
                  <a:lnTo>
                    <a:pt x="228" y="358"/>
                  </a:lnTo>
                  <a:lnTo>
                    <a:pt x="222" y="366"/>
                  </a:lnTo>
                  <a:lnTo>
                    <a:pt x="224" y="384"/>
                  </a:lnTo>
                  <a:lnTo>
                    <a:pt x="220" y="396"/>
                  </a:lnTo>
                  <a:lnTo>
                    <a:pt x="222" y="408"/>
                  </a:lnTo>
                  <a:lnTo>
                    <a:pt x="218" y="424"/>
                  </a:lnTo>
                  <a:lnTo>
                    <a:pt x="216" y="426"/>
                  </a:lnTo>
                  <a:lnTo>
                    <a:pt x="204" y="426"/>
                  </a:lnTo>
                  <a:lnTo>
                    <a:pt x="200" y="434"/>
                  </a:lnTo>
                  <a:lnTo>
                    <a:pt x="198" y="446"/>
                  </a:lnTo>
                  <a:lnTo>
                    <a:pt x="190" y="452"/>
                  </a:lnTo>
                  <a:lnTo>
                    <a:pt x="186" y="452"/>
                  </a:lnTo>
                  <a:lnTo>
                    <a:pt x="180" y="446"/>
                  </a:lnTo>
                  <a:lnTo>
                    <a:pt x="176" y="448"/>
                  </a:lnTo>
                  <a:lnTo>
                    <a:pt x="176" y="464"/>
                  </a:lnTo>
                  <a:lnTo>
                    <a:pt x="172" y="474"/>
                  </a:lnTo>
                  <a:lnTo>
                    <a:pt x="170" y="472"/>
                  </a:lnTo>
                  <a:lnTo>
                    <a:pt x="160" y="462"/>
                  </a:lnTo>
                  <a:lnTo>
                    <a:pt x="154" y="462"/>
                  </a:lnTo>
                  <a:lnTo>
                    <a:pt x="142" y="472"/>
                  </a:lnTo>
                  <a:lnTo>
                    <a:pt x="134" y="488"/>
                  </a:lnTo>
                  <a:lnTo>
                    <a:pt x="136" y="508"/>
                  </a:lnTo>
                  <a:lnTo>
                    <a:pt x="120" y="552"/>
                  </a:lnTo>
                  <a:lnTo>
                    <a:pt x="100" y="578"/>
                  </a:lnTo>
                  <a:lnTo>
                    <a:pt x="90" y="570"/>
                  </a:lnTo>
                  <a:lnTo>
                    <a:pt x="88" y="560"/>
                  </a:lnTo>
                  <a:lnTo>
                    <a:pt x="68" y="544"/>
                  </a:lnTo>
                  <a:lnTo>
                    <a:pt x="36" y="43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chemeClr val="bg2"/>
                </a:solidFill>
                <a:latin typeface="+mj-lt"/>
              </a:endParaRPr>
            </a:p>
          </p:txBody>
        </p:sp>
        <p:sp>
          <p:nvSpPr>
            <p:cNvPr id="37" name="Freeform 223"/>
            <p:cNvSpPr>
              <a:spLocks/>
            </p:cNvSpPr>
            <p:nvPr/>
          </p:nvSpPr>
          <p:spPr bwMode="auto">
            <a:xfrm>
              <a:off x="5528073" y="2236609"/>
              <a:ext cx="376238" cy="634604"/>
            </a:xfrm>
            <a:custGeom>
              <a:avLst/>
              <a:gdLst>
                <a:gd name="T0" fmla="*/ 40 w 316"/>
                <a:gd name="T1" fmla="*/ 36 h 533"/>
                <a:gd name="T2" fmla="*/ 44 w 316"/>
                <a:gd name="T3" fmla="*/ 328 h 533"/>
                <a:gd name="T4" fmla="*/ 38 w 316"/>
                <a:gd name="T5" fmla="*/ 350 h 533"/>
                <a:gd name="T6" fmla="*/ 46 w 316"/>
                <a:gd name="T7" fmla="*/ 382 h 533"/>
                <a:gd name="T8" fmla="*/ 50 w 316"/>
                <a:gd name="T9" fmla="*/ 408 h 533"/>
                <a:gd name="T10" fmla="*/ 40 w 316"/>
                <a:gd name="T11" fmla="*/ 440 h 533"/>
                <a:gd name="T12" fmla="*/ 22 w 316"/>
                <a:gd name="T13" fmla="*/ 467 h 533"/>
                <a:gd name="T14" fmla="*/ 8 w 316"/>
                <a:gd name="T15" fmla="*/ 475 h 533"/>
                <a:gd name="T16" fmla="*/ 6 w 316"/>
                <a:gd name="T17" fmla="*/ 493 h 533"/>
                <a:gd name="T18" fmla="*/ 4 w 316"/>
                <a:gd name="T19" fmla="*/ 499 h 533"/>
                <a:gd name="T20" fmla="*/ 0 w 316"/>
                <a:gd name="T21" fmla="*/ 519 h 533"/>
                <a:gd name="T22" fmla="*/ 2 w 316"/>
                <a:gd name="T23" fmla="*/ 529 h 533"/>
                <a:gd name="T24" fmla="*/ 8 w 316"/>
                <a:gd name="T25" fmla="*/ 529 h 533"/>
                <a:gd name="T26" fmla="*/ 22 w 316"/>
                <a:gd name="T27" fmla="*/ 527 h 533"/>
                <a:gd name="T28" fmla="*/ 22 w 316"/>
                <a:gd name="T29" fmla="*/ 513 h 533"/>
                <a:gd name="T30" fmla="*/ 42 w 316"/>
                <a:gd name="T31" fmla="*/ 515 h 533"/>
                <a:gd name="T32" fmla="*/ 52 w 316"/>
                <a:gd name="T33" fmla="*/ 521 h 533"/>
                <a:gd name="T34" fmla="*/ 54 w 316"/>
                <a:gd name="T35" fmla="*/ 513 h 533"/>
                <a:gd name="T36" fmla="*/ 100 w 316"/>
                <a:gd name="T37" fmla="*/ 525 h 533"/>
                <a:gd name="T38" fmla="*/ 126 w 316"/>
                <a:gd name="T39" fmla="*/ 497 h 533"/>
                <a:gd name="T40" fmla="*/ 144 w 316"/>
                <a:gd name="T41" fmla="*/ 507 h 533"/>
                <a:gd name="T42" fmla="*/ 150 w 316"/>
                <a:gd name="T43" fmla="*/ 505 h 533"/>
                <a:gd name="T44" fmla="*/ 156 w 316"/>
                <a:gd name="T45" fmla="*/ 489 h 533"/>
                <a:gd name="T46" fmla="*/ 160 w 316"/>
                <a:gd name="T47" fmla="*/ 477 h 533"/>
                <a:gd name="T48" fmla="*/ 168 w 316"/>
                <a:gd name="T49" fmla="*/ 467 h 533"/>
                <a:gd name="T50" fmla="*/ 180 w 316"/>
                <a:gd name="T51" fmla="*/ 483 h 533"/>
                <a:gd name="T52" fmla="*/ 214 w 316"/>
                <a:gd name="T53" fmla="*/ 483 h 533"/>
                <a:gd name="T54" fmla="*/ 220 w 316"/>
                <a:gd name="T55" fmla="*/ 452 h 533"/>
                <a:gd name="T56" fmla="*/ 240 w 316"/>
                <a:gd name="T57" fmla="*/ 428 h 533"/>
                <a:gd name="T58" fmla="*/ 254 w 316"/>
                <a:gd name="T59" fmla="*/ 392 h 533"/>
                <a:gd name="T60" fmla="*/ 280 w 316"/>
                <a:gd name="T61" fmla="*/ 394 h 533"/>
                <a:gd name="T62" fmla="*/ 314 w 316"/>
                <a:gd name="T63" fmla="*/ 378 h 533"/>
                <a:gd name="T64" fmla="*/ 306 w 316"/>
                <a:gd name="T65" fmla="*/ 364 h 533"/>
                <a:gd name="T66" fmla="*/ 304 w 316"/>
                <a:gd name="T67" fmla="*/ 344 h 533"/>
                <a:gd name="T68" fmla="*/ 274 w 316"/>
                <a:gd name="T69" fmla="*/ 0 h 533"/>
                <a:gd name="T70" fmla="*/ 54 w 316"/>
                <a:gd name="T71" fmla="*/ 36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6" h="533">
                  <a:moveTo>
                    <a:pt x="54" y="36"/>
                  </a:moveTo>
                  <a:lnTo>
                    <a:pt x="40" y="36"/>
                  </a:lnTo>
                  <a:lnTo>
                    <a:pt x="20" y="30"/>
                  </a:lnTo>
                  <a:lnTo>
                    <a:pt x="44" y="328"/>
                  </a:lnTo>
                  <a:lnTo>
                    <a:pt x="34" y="338"/>
                  </a:lnTo>
                  <a:lnTo>
                    <a:pt x="38" y="350"/>
                  </a:lnTo>
                  <a:lnTo>
                    <a:pt x="32" y="362"/>
                  </a:lnTo>
                  <a:lnTo>
                    <a:pt x="46" y="382"/>
                  </a:lnTo>
                  <a:lnTo>
                    <a:pt x="44" y="392"/>
                  </a:lnTo>
                  <a:lnTo>
                    <a:pt x="50" y="408"/>
                  </a:lnTo>
                  <a:lnTo>
                    <a:pt x="38" y="432"/>
                  </a:lnTo>
                  <a:lnTo>
                    <a:pt x="40" y="440"/>
                  </a:lnTo>
                  <a:lnTo>
                    <a:pt x="30" y="446"/>
                  </a:lnTo>
                  <a:lnTo>
                    <a:pt x="22" y="467"/>
                  </a:lnTo>
                  <a:lnTo>
                    <a:pt x="12" y="467"/>
                  </a:lnTo>
                  <a:lnTo>
                    <a:pt x="8" y="475"/>
                  </a:lnTo>
                  <a:lnTo>
                    <a:pt x="16" y="487"/>
                  </a:lnTo>
                  <a:lnTo>
                    <a:pt x="6" y="493"/>
                  </a:lnTo>
                  <a:lnTo>
                    <a:pt x="12" y="495"/>
                  </a:lnTo>
                  <a:lnTo>
                    <a:pt x="4" y="499"/>
                  </a:lnTo>
                  <a:lnTo>
                    <a:pt x="8" y="519"/>
                  </a:lnTo>
                  <a:lnTo>
                    <a:pt x="0" y="519"/>
                  </a:lnTo>
                  <a:lnTo>
                    <a:pt x="8" y="525"/>
                  </a:lnTo>
                  <a:lnTo>
                    <a:pt x="2" y="529"/>
                  </a:lnTo>
                  <a:lnTo>
                    <a:pt x="6" y="529"/>
                  </a:lnTo>
                  <a:lnTo>
                    <a:pt x="8" y="529"/>
                  </a:lnTo>
                  <a:lnTo>
                    <a:pt x="16" y="533"/>
                  </a:lnTo>
                  <a:lnTo>
                    <a:pt x="22" y="527"/>
                  </a:lnTo>
                  <a:lnTo>
                    <a:pt x="18" y="517"/>
                  </a:lnTo>
                  <a:lnTo>
                    <a:pt x="22" y="513"/>
                  </a:lnTo>
                  <a:lnTo>
                    <a:pt x="30" y="519"/>
                  </a:lnTo>
                  <a:lnTo>
                    <a:pt x="42" y="515"/>
                  </a:lnTo>
                  <a:lnTo>
                    <a:pt x="46" y="525"/>
                  </a:lnTo>
                  <a:lnTo>
                    <a:pt x="52" y="521"/>
                  </a:lnTo>
                  <a:lnTo>
                    <a:pt x="50" y="505"/>
                  </a:lnTo>
                  <a:lnTo>
                    <a:pt x="54" y="513"/>
                  </a:lnTo>
                  <a:lnTo>
                    <a:pt x="70" y="509"/>
                  </a:lnTo>
                  <a:lnTo>
                    <a:pt x="100" y="525"/>
                  </a:lnTo>
                  <a:lnTo>
                    <a:pt x="108" y="509"/>
                  </a:lnTo>
                  <a:lnTo>
                    <a:pt x="126" y="497"/>
                  </a:lnTo>
                  <a:lnTo>
                    <a:pt x="134" y="507"/>
                  </a:lnTo>
                  <a:lnTo>
                    <a:pt x="144" y="507"/>
                  </a:lnTo>
                  <a:lnTo>
                    <a:pt x="146" y="513"/>
                  </a:lnTo>
                  <a:lnTo>
                    <a:pt x="150" y="505"/>
                  </a:lnTo>
                  <a:lnTo>
                    <a:pt x="158" y="501"/>
                  </a:lnTo>
                  <a:lnTo>
                    <a:pt x="156" y="489"/>
                  </a:lnTo>
                  <a:lnTo>
                    <a:pt x="164" y="483"/>
                  </a:lnTo>
                  <a:lnTo>
                    <a:pt x="160" y="477"/>
                  </a:lnTo>
                  <a:lnTo>
                    <a:pt x="174" y="475"/>
                  </a:lnTo>
                  <a:lnTo>
                    <a:pt x="168" y="467"/>
                  </a:lnTo>
                  <a:lnTo>
                    <a:pt x="178" y="473"/>
                  </a:lnTo>
                  <a:lnTo>
                    <a:pt x="180" y="483"/>
                  </a:lnTo>
                  <a:lnTo>
                    <a:pt x="204" y="493"/>
                  </a:lnTo>
                  <a:lnTo>
                    <a:pt x="214" y="483"/>
                  </a:lnTo>
                  <a:lnTo>
                    <a:pt x="216" y="465"/>
                  </a:lnTo>
                  <a:lnTo>
                    <a:pt x="220" y="452"/>
                  </a:lnTo>
                  <a:lnTo>
                    <a:pt x="236" y="448"/>
                  </a:lnTo>
                  <a:lnTo>
                    <a:pt x="240" y="428"/>
                  </a:lnTo>
                  <a:lnTo>
                    <a:pt x="258" y="416"/>
                  </a:lnTo>
                  <a:lnTo>
                    <a:pt x="254" y="392"/>
                  </a:lnTo>
                  <a:lnTo>
                    <a:pt x="270" y="388"/>
                  </a:lnTo>
                  <a:lnTo>
                    <a:pt x="280" y="394"/>
                  </a:lnTo>
                  <a:lnTo>
                    <a:pt x="298" y="380"/>
                  </a:lnTo>
                  <a:lnTo>
                    <a:pt x="314" y="378"/>
                  </a:lnTo>
                  <a:lnTo>
                    <a:pt x="316" y="366"/>
                  </a:lnTo>
                  <a:lnTo>
                    <a:pt x="306" y="364"/>
                  </a:lnTo>
                  <a:lnTo>
                    <a:pt x="310" y="354"/>
                  </a:lnTo>
                  <a:lnTo>
                    <a:pt x="304" y="344"/>
                  </a:lnTo>
                  <a:lnTo>
                    <a:pt x="310" y="338"/>
                  </a:lnTo>
                  <a:lnTo>
                    <a:pt x="274" y="0"/>
                  </a:lnTo>
                  <a:lnTo>
                    <a:pt x="76" y="18"/>
                  </a:lnTo>
                  <a:lnTo>
                    <a:pt x="54" y="3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8" name="Freeform 224"/>
            <p:cNvSpPr>
              <a:spLocks/>
            </p:cNvSpPr>
            <p:nvPr/>
          </p:nvSpPr>
          <p:spPr bwMode="auto">
            <a:xfrm>
              <a:off x="4937523" y="1510328"/>
              <a:ext cx="623888" cy="671513"/>
            </a:xfrm>
            <a:custGeom>
              <a:avLst/>
              <a:gdLst>
                <a:gd name="T0" fmla="*/ 492 w 524"/>
                <a:gd name="T1" fmla="*/ 284 h 564"/>
                <a:gd name="T2" fmla="*/ 518 w 524"/>
                <a:gd name="T3" fmla="*/ 190 h 564"/>
                <a:gd name="T4" fmla="*/ 494 w 524"/>
                <a:gd name="T5" fmla="*/ 246 h 564"/>
                <a:gd name="T6" fmla="*/ 448 w 524"/>
                <a:gd name="T7" fmla="*/ 286 h 564"/>
                <a:gd name="T8" fmla="*/ 460 w 524"/>
                <a:gd name="T9" fmla="*/ 244 h 564"/>
                <a:gd name="T10" fmla="*/ 480 w 524"/>
                <a:gd name="T11" fmla="*/ 212 h 564"/>
                <a:gd name="T12" fmla="*/ 476 w 524"/>
                <a:gd name="T13" fmla="*/ 212 h 564"/>
                <a:gd name="T14" fmla="*/ 468 w 524"/>
                <a:gd name="T15" fmla="*/ 182 h 564"/>
                <a:gd name="T16" fmla="*/ 448 w 524"/>
                <a:gd name="T17" fmla="*/ 180 h 564"/>
                <a:gd name="T18" fmla="*/ 454 w 524"/>
                <a:gd name="T19" fmla="*/ 164 h 564"/>
                <a:gd name="T20" fmla="*/ 454 w 524"/>
                <a:gd name="T21" fmla="*/ 152 h 564"/>
                <a:gd name="T22" fmla="*/ 452 w 524"/>
                <a:gd name="T23" fmla="*/ 140 h 564"/>
                <a:gd name="T24" fmla="*/ 422 w 524"/>
                <a:gd name="T25" fmla="*/ 128 h 564"/>
                <a:gd name="T26" fmla="*/ 422 w 524"/>
                <a:gd name="T27" fmla="*/ 112 h 564"/>
                <a:gd name="T28" fmla="*/ 374 w 524"/>
                <a:gd name="T29" fmla="*/ 106 h 564"/>
                <a:gd name="T30" fmla="*/ 232 w 524"/>
                <a:gd name="T31" fmla="*/ 50 h 564"/>
                <a:gd name="T32" fmla="*/ 216 w 524"/>
                <a:gd name="T33" fmla="*/ 46 h 564"/>
                <a:gd name="T34" fmla="*/ 182 w 524"/>
                <a:gd name="T35" fmla="*/ 40 h 564"/>
                <a:gd name="T36" fmla="*/ 174 w 524"/>
                <a:gd name="T37" fmla="*/ 42 h 564"/>
                <a:gd name="T38" fmla="*/ 176 w 524"/>
                <a:gd name="T39" fmla="*/ 10 h 564"/>
                <a:gd name="T40" fmla="*/ 110 w 524"/>
                <a:gd name="T41" fmla="*/ 40 h 564"/>
                <a:gd name="T42" fmla="*/ 76 w 524"/>
                <a:gd name="T43" fmla="*/ 44 h 564"/>
                <a:gd name="T44" fmla="*/ 60 w 524"/>
                <a:gd name="T45" fmla="*/ 28 h 564"/>
                <a:gd name="T46" fmla="*/ 50 w 524"/>
                <a:gd name="T47" fmla="*/ 38 h 564"/>
                <a:gd name="T48" fmla="*/ 46 w 524"/>
                <a:gd name="T49" fmla="*/ 118 h 564"/>
                <a:gd name="T50" fmla="*/ 8 w 524"/>
                <a:gd name="T51" fmla="*/ 152 h 564"/>
                <a:gd name="T52" fmla="*/ 0 w 524"/>
                <a:gd name="T53" fmla="*/ 176 h 564"/>
                <a:gd name="T54" fmla="*/ 22 w 524"/>
                <a:gd name="T55" fmla="*/ 196 h 564"/>
                <a:gd name="T56" fmla="*/ 14 w 524"/>
                <a:gd name="T57" fmla="*/ 234 h 564"/>
                <a:gd name="T58" fmla="*/ 14 w 524"/>
                <a:gd name="T59" fmla="*/ 258 h 564"/>
                <a:gd name="T60" fmla="*/ 18 w 524"/>
                <a:gd name="T61" fmla="*/ 292 h 564"/>
                <a:gd name="T62" fmla="*/ 48 w 524"/>
                <a:gd name="T63" fmla="*/ 312 h 564"/>
                <a:gd name="T64" fmla="*/ 78 w 524"/>
                <a:gd name="T65" fmla="*/ 318 h 564"/>
                <a:gd name="T66" fmla="*/ 102 w 524"/>
                <a:gd name="T67" fmla="*/ 354 h 564"/>
                <a:gd name="T68" fmla="*/ 154 w 524"/>
                <a:gd name="T69" fmla="*/ 398 h 564"/>
                <a:gd name="T70" fmla="*/ 180 w 524"/>
                <a:gd name="T71" fmla="*/ 530 h 564"/>
                <a:gd name="T72" fmla="*/ 218 w 524"/>
                <a:gd name="T73" fmla="*/ 552 h 564"/>
                <a:gd name="T74" fmla="*/ 482 w 524"/>
                <a:gd name="T75" fmla="*/ 546 h 564"/>
                <a:gd name="T76" fmla="*/ 490 w 524"/>
                <a:gd name="T77" fmla="*/ 348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24" h="564">
                  <a:moveTo>
                    <a:pt x="490" y="348"/>
                  </a:moveTo>
                  <a:lnTo>
                    <a:pt x="492" y="284"/>
                  </a:lnTo>
                  <a:lnTo>
                    <a:pt x="524" y="204"/>
                  </a:lnTo>
                  <a:lnTo>
                    <a:pt x="518" y="190"/>
                  </a:lnTo>
                  <a:lnTo>
                    <a:pt x="498" y="218"/>
                  </a:lnTo>
                  <a:lnTo>
                    <a:pt x="494" y="246"/>
                  </a:lnTo>
                  <a:lnTo>
                    <a:pt x="484" y="248"/>
                  </a:lnTo>
                  <a:lnTo>
                    <a:pt x="448" y="286"/>
                  </a:lnTo>
                  <a:lnTo>
                    <a:pt x="448" y="278"/>
                  </a:lnTo>
                  <a:lnTo>
                    <a:pt x="460" y="244"/>
                  </a:lnTo>
                  <a:lnTo>
                    <a:pt x="470" y="232"/>
                  </a:lnTo>
                  <a:lnTo>
                    <a:pt x="480" y="212"/>
                  </a:lnTo>
                  <a:lnTo>
                    <a:pt x="474" y="212"/>
                  </a:lnTo>
                  <a:lnTo>
                    <a:pt x="476" y="212"/>
                  </a:lnTo>
                  <a:lnTo>
                    <a:pt x="462" y="202"/>
                  </a:lnTo>
                  <a:lnTo>
                    <a:pt x="468" y="182"/>
                  </a:lnTo>
                  <a:lnTo>
                    <a:pt x="466" y="178"/>
                  </a:lnTo>
                  <a:lnTo>
                    <a:pt x="448" y="180"/>
                  </a:lnTo>
                  <a:lnTo>
                    <a:pt x="448" y="172"/>
                  </a:lnTo>
                  <a:lnTo>
                    <a:pt x="454" y="164"/>
                  </a:lnTo>
                  <a:lnTo>
                    <a:pt x="450" y="156"/>
                  </a:lnTo>
                  <a:lnTo>
                    <a:pt x="454" y="152"/>
                  </a:lnTo>
                  <a:lnTo>
                    <a:pt x="450" y="144"/>
                  </a:lnTo>
                  <a:lnTo>
                    <a:pt x="452" y="140"/>
                  </a:lnTo>
                  <a:lnTo>
                    <a:pt x="442" y="132"/>
                  </a:lnTo>
                  <a:lnTo>
                    <a:pt x="422" y="128"/>
                  </a:lnTo>
                  <a:lnTo>
                    <a:pt x="424" y="118"/>
                  </a:lnTo>
                  <a:lnTo>
                    <a:pt x="422" y="112"/>
                  </a:lnTo>
                  <a:lnTo>
                    <a:pt x="384" y="102"/>
                  </a:lnTo>
                  <a:lnTo>
                    <a:pt x="374" y="106"/>
                  </a:lnTo>
                  <a:lnTo>
                    <a:pt x="242" y="72"/>
                  </a:lnTo>
                  <a:lnTo>
                    <a:pt x="232" y="50"/>
                  </a:lnTo>
                  <a:lnTo>
                    <a:pt x="222" y="44"/>
                  </a:lnTo>
                  <a:lnTo>
                    <a:pt x="216" y="46"/>
                  </a:lnTo>
                  <a:lnTo>
                    <a:pt x="214" y="42"/>
                  </a:lnTo>
                  <a:lnTo>
                    <a:pt x="182" y="40"/>
                  </a:lnTo>
                  <a:lnTo>
                    <a:pt x="176" y="46"/>
                  </a:lnTo>
                  <a:lnTo>
                    <a:pt x="174" y="42"/>
                  </a:lnTo>
                  <a:lnTo>
                    <a:pt x="178" y="24"/>
                  </a:lnTo>
                  <a:lnTo>
                    <a:pt x="176" y="10"/>
                  </a:lnTo>
                  <a:lnTo>
                    <a:pt x="166" y="0"/>
                  </a:lnTo>
                  <a:lnTo>
                    <a:pt x="110" y="40"/>
                  </a:lnTo>
                  <a:lnTo>
                    <a:pt x="90" y="44"/>
                  </a:lnTo>
                  <a:lnTo>
                    <a:pt x="76" y="44"/>
                  </a:lnTo>
                  <a:lnTo>
                    <a:pt x="68" y="34"/>
                  </a:lnTo>
                  <a:lnTo>
                    <a:pt x="60" y="28"/>
                  </a:lnTo>
                  <a:lnTo>
                    <a:pt x="56" y="38"/>
                  </a:lnTo>
                  <a:lnTo>
                    <a:pt x="50" y="38"/>
                  </a:lnTo>
                  <a:lnTo>
                    <a:pt x="52" y="110"/>
                  </a:lnTo>
                  <a:lnTo>
                    <a:pt x="46" y="118"/>
                  </a:lnTo>
                  <a:lnTo>
                    <a:pt x="16" y="134"/>
                  </a:lnTo>
                  <a:lnTo>
                    <a:pt x="8" y="152"/>
                  </a:lnTo>
                  <a:lnTo>
                    <a:pt x="0" y="160"/>
                  </a:lnTo>
                  <a:lnTo>
                    <a:pt x="0" y="176"/>
                  </a:lnTo>
                  <a:lnTo>
                    <a:pt x="12" y="178"/>
                  </a:lnTo>
                  <a:lnTo>
                    <a:pt x="22" y="196"/>
                  </a:lnTo>
                  <a:lnTo>
                    <a:pt x="12" y="212"/>
                  </a:lnTo>
                  <a:lnTo>
                    <a:pt x="14" y="234"/>
                  </a:lnTo>
                  <a:lnTo>
                    <a:pt x="10" y="240"/>
                  </a:lnTo>
                  <a:lnTo>
                    <a:pt x="14" y="258"/>
                  </a:lnTo>
                  <a:lnTo>
                    <a:pt x="10" y="280"/>
                  </a:lnTo>
                  <a:lnTo>
                    <a:pt x="18" y="292"/>
                  </a:lnTo>
                  <a:lnTo>
                    <a:pt x="38" y="298"/>
                  </a:lnTo>
                  <a:lnTo>
                    <a:pt x="48" y="312"/>
                  </a:lnTo>
                  <a:lnTo>
                    <a:pt x="62" y="310"/>
                  </a:lnTo>
                  <a:lnTo>
                    <a:pt x="78" y="318"/>
                  </a:lnTo>
                  <a:lnTo>
                    <a:pt x="96" y="338"/>
                  </a:lnTo>
                  <a:lnTo>
                    <a:pt x="102" y="354"/>
                  </a:lnTo>
                  <a:lnTo>
                    <a:pt x="146" y="382"/>
                  </a:lnTo>
                  <a:lnTo>
                    <a:pt x="154" y="398"/>
                  </a:lnTo>
                  <a:lnTo>
                    <a:pt x="160" y="434"/>
                  </a:lnTo>
                  <a:lnTo>
                    <a:pt x="180" y="530"/>
                  </a:lnTo>
                  <a:lnTo>
                    <a:pt x="212" y="540"/>
                  </a:lnTo>
                  <a:lnTo>
                    <a:pt x="218" y="552"/>
                  </a:lnTo>
                  <a:lnTo>
                    <a:pt x="218" y="564"/>
                  </a:lnTo>
                  <a:lnTo>
                    <a:pt x="482" y="546"/>
                  </a:lnTo>
                  <a:lnTo>
                    <a:pt x="468" y="452"/>
                  </a:lnTo>
                  <a:lnTo>
                    <a:pt x="490" y="348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" name="Freeform 225"/>
            <p:cNvSpPr>
              <a:spLocks/>
            </p:cNvSpPr>
            <p:nvPr/>
          </p:nvSpPr>
          <p:spPr bwMode="auto">
            <a:xfrm>
              <a:off x="7094936" y="2077065"/>
              <a:ext cx="207169" cy="133350"/>
            </a:xfrm>
            <a:custGeom>
              <a:avLst/>
              <a:gdLst>
                <a:gd name="T0" fmla="*/ 146 w 174"/>
                <a:gd name="T1" fmla="*/ 0 h 112"/>
                <a:gd name="T2" fmla="*/ 118 w 174"/>
                <a:gd name="T3" fmla="*/ 34 h 112"/>
                <a:gd name="T4" fmla="*/ 36 w 174"/>
                <a:gd name="T5" fmla="*/ 64 h 112"/>
                <a:gd name="T6" fmla="*/ 12 w 174"/>
                <a:gd name="T7" fmla="*/ 82 h 112"/>
                <a:gd name="T8" fmla="*/ 8 w 174"/>
                <a:gd name="T9" fmla="*/ 92 h 112"/>
                <a:gd name="T10" fmla="*/ 0 w 174"/>
                <a:gd name="T11" fmla="*/ 96 h 112"/>
                <a:gd name="T12" fmla="*/ 0 w 174"/>
                <a:gd name="T13" fmla="*/ 110 h 112"/>
                <a:gd name="T14" fmla="*/ 2 w 174"/>
                <a:gd name="T15" fmla="*/ 112 h 112"/>
                <a:gd name="T16" fmla="*/ 2 w 174"/>
                <a:gd name="T17" fmla="*/ 106 h 112"/>
                <a:gd name="T18" fmla="*/ 10 w 174"/>
                <a:gd name="T19" fmla="*/ 102 h 112"/>
                <a:gd name="T20" fmla="*/ 12 w 174"/>
                <a:gd name="T21" fmla="*/ 108 h 112"/>
                <a:gd name="T22" fmla="*/ 20 w 174"/>
                <a:gd name="T23" fmla="*/ 110 h 112"/>
                <a:gd name="T24" fmla="*/ 174 w 174"/>
                <a:gd name="T25" fmla="*/ 14 h 112"/>
                <a:gd name="T26" fmla="*/ 154 w 174"/>
                <a:gd name="T27" fmla="*/ 16 h 112"/>
                <a:gd name="T28" fmla="*/ 142 w 174"/>
                <a:gd name="T29" fmla="*/ 26 h 112"/>
                <a:gd name="T30" fmla="*/ 136 w 174"/>
                <a:gd name="T31" fmla="*/ 34 h 112"/>
                <a:gd name="T32" fmla="*/ 124 w 174"/>
                <a:gd name="T33" fmla="*/ 40 h 112"/>
                <a:gd name="T34" fmla="*/ 126 w 174"/>
                <a:gd name="T35" fmla="*/ 34 h 112"/>
                <a:gd name="T36" fmla="*/ 142 w 174"/>
                <a:gd name="T37" fmla="*/ 10 h 112"/>
                <a:gd name="T38" fmla="*/ 146 w 174"/>
                <a:gd name="T3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4" h="112">
                  <a:moveTo>
                    <a:pt x="146" y="0"/>
                  </a:moveTo>
                  <a:lnTo>
                    <a:pt x="118" y="34"/>
                  </a:lnTo>
                  <a:lnTo>
                    <a:pt x="36" y="64"/>
                  </a:lnTo>
                  <a:lnTo>
                    <a:pt x="12" y="82"/>
                  </a:lnTo>
                  <a:lnTo>
                    <a:pt x="8" y="92"/>
                  </a:lnTo>
                  <a:lnTo>
                    <a:pt x="0" y="96"/>
                  </a:lnTo>
                  <a:lnTo>
                    <a:pt x="0" y="110"/>
                  </a:lnTo>
                  <a:lnTo>
                    <a:pt x="2" y="112"/>
                  </a:lnTo>
                  <a:lnTo>
                    <a:pt x="2" y="106"/>
                  </a:lnTo>
                  <a:lnTo>
                    <a:pt x="10" y="102"/>
                  </a:lnTo>
                  <a:lnTo>
                    <a:pt x="12" y="108"/>
                  </a:lnTo>
                  <a:lnTo>
                    <a:pt x="20" y="110"/>
                  </a:lnTo>
                  <a:lnTo>
                    <a:pt x="174" y="14"/>
                  </a:lnTo>
                  <a:lnTo>
                    <a:pt x="154" y="16"/>
                  </a:lnTo>
                  <a:lnTo>
                    <a:pt x="142" y="26"/>
                  </a:lnTo>
                  <a:lnTo>
                    <a:pt x="136" y="34"/>
                  </a:lnTo>
                  <a:lnTo>
                    <a:pt x="124" y="40"/>
                  </a:lnTo>
                  <a:lnTo>
                    <a:pt x="126" y="34"/>
                  </a:lnTo>
                  <a:lnTo>
                    <a:pt x="142" y="10"/>
                  </a:lnTo>
                  <a:lnTo>
                    <a:pt x="146" y="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" name="Freeform 226"/>
            <p:cNvSpPr>
              <a:spLocks/>
            </p:cNvSpPr>
            <p:nvPr/>
          </p:nvSpPr>
          <p:spPr bwMode="auto">
            <a:xfrm>
              <a:off x="6704411" y="4615315"/>
              <a:ext cx="26194" cy="42863"/>
            </a:xfrm>
            <a:custGeom>
              <a:avLst/>
              <a:gdLst>
                <a:gd name="T0" fmla="*/ 22 w 22"/>
                <a:gd name="T1" fmla="*/ 2 h 36"/>
                <a:gd name="T2" fmla="*/ 16 w 22"/>
                <a:gd name="T3" fmla="*/ 0 h 36"/>
                <a:gd name="T4" fmla="*/ 0 w 22"/>
                <a:gd name="T5" fmla="*/ 32 h 36"/>
                <a:gd name="T6" fmla="*/ 2 w 22"/>
                <a:gd name="T7" fmla="*/ 36 h 36"/>
                <a:gd name="T8" fmla="*/ 22 w 22"/>
                <a:gd name="T9" fmla="*/ 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6">
                  <a:moveTo>
                    <a:pt x="22" y="2"/>
                  </a:moveTo>
                  <a:lnTo>
                    <a:pt x="16" y="0"/>
                  </a:lnTo>
                  <a:lnTo>
                    <a:pt x="0" y="32"/>
                  </a:lnTo>
                  <a:lnTo>
                    <a:pt x="2" y="36"/>
                  </a:lnTo>
                  <a:lnTo>
                    <a:pt x="22" y="2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" name="Freeform 227"/>
            <p:cNvSpPr>
              <a:spLocks/>
            </p:cNvSpPr>
            <p:nvPr/>
          </p:nvSpPr>
          <p:spPr bwMode="auto">
            <a:xfrm>
              <a:off x="6668692" y="4692869"/>
              <a:ext cx="23813" cy="19050"/>
            </a:xfrm>
            <a:custGeom>
              <a:avLst/>
              <a:gdLst>
                <a:gd name="T0" fmla="*/ 20 w 20"/>
                <a:gd name="T1" fmla="*/ 0 h 16"/>
                <a:gd name="T2" fmla="*/ 0 w 20"/>
                <a:gd name="T3" fmla="*/ 12 h 16"/>
                <a:gd name="T4" fmla="*/ 2 w 20"/>
                <a:gd name="T5" fmla="*/ 16 h 16"/>
                <a:gd name="T6" fmla="*/ 20 w 20"/>
                <a:gd name="T7" fmla="*/ 6 h 16"/>
                <a:gd name="T8" fmla="*/ 20 w 2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6">
                  <a:moveTo>
                    <a:pt x="20" y="0"/>
                  </a:moveTo>
                  <a:lnTo>
                    <a:pt x="0" y="12"/>
                  </a:lnTo>
                  <a:lnTo>
                    <a:pt x="2" y="16"/>
                  </a:lnTo>
                  <a:lnTo>
                    <a:pt x="20" y="6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" name="Freeform 228"/>
            <p:cNvSpPr>
              <a:spLocks/>
            </p:cNvSpPr>
            <p:nvPr/>
          </p:nvSpPr>
          <p:spPr bwMode="auto">
            <a:xfrm>
              <a:off x="6544867" y="4723825"/>
              <a:ext cx="66675" cy="38100"/>
            </a:xfrm>
            <a:custGeom>
              <a:avLst/>
              <a:gdLst>
                <a:gd name="T0" fmla="*/ 56 w 56"/>
                <a:gd name="T1" fmla="*/ 14 h 32"/>
                <a:gd name="T2" fmla="*/ 40 w 56"/>
                <a:gd name="T3" fmla="*/ 14 h 32"/>
                <a:gd name="T4" fmla="*/ 16 w 56"/>
                <a:gd name="T5" fmla="*/ 28 h 32"/>
                <a:gd name="T6" fmla="*/ 0 w 56"/>
                <a:gd name="T7" fmla="*/ 32 h 32"/>
                <a:gd name="T8" fmla="*/ 4 w 56"/>
                <a:gd name="T9" fmla="*/ 24 h 32"/>
                <a:gd name="T10" fmla="*/ 20 w 56"/>
                <a:gd name="T11" fmla="*/ 18 h 32"/>
                <a:gd name="T12" fmla="*/ 40 w 56"/>
                <a:gd name="T13" fmla="*/ 0 h 32"/>
                <a:gd name="T14" fmla="*/ 56 w 56"/>
                <a:gd name="T15" fmla="*/ 2 h 32"/>
                <a:gd name="T16" fmla="*/ 56 w 56"/>
                <a:gd name="T17" fmla="*/ 1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32">
                  <a:moveTo>
                    <a:pt x="56" y="14"/>
                  </a:moveTo>
                  <a:lnTo>
                    <a:pt x="40" y="14"/>
                  </a:lnTo>
                  <a:lnTo>
                    <a:pt x="16" y="28"/>
                  </a:lnTo>
                  <a:lnTo>
                    <a:pt x="0" y="32"/>
                  </a:lnTo>
                  <a:lnTo>
                    <a:pt x="4" y="24"/>
                  </a:lnTo>
                  <a:lnTo>
                    <a:pt x="20" y="18"/>
                  </a:lnTo>
                  <a:lnTo>
                    <a:pt x="40" y="0"/>
                  </a:lnTo>
                  <a:lnTo>
                    <a:pt x="56" y="2"/>
                  </a:lnTo>
                  <a:lnTo>
                    <a:pt x="56" y="14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" name="Freeform 229"/>
            <p:cNvSpPr>
              <a:spLocks/>
            </p:cNvSpPr>
            <p:nvPr/>
          </p:nvSpPr>
          <p:spPr bwMode="auto">
            <a:xfrm>
              <a:off x="7502129" y="1538904"/>
              <a:ext cx="19050" cy="26194"/>
            </a:xfrm>
            <a:custGeom>
              <a:avLst/>
              <a:gdLst>
                <a:gd name="T0" fmla="*/ 0 w 16"/>
                <a:gd name="T1" fmla="*/ 14 h 22"/>
                <a:gd name="T2" fmla="*/ 6 w 16"/>
                <a:gd name="T3" fmla="*/ 22 h 22"/>
                <a:gd name="T4" fmla="*/ 14 w 16"/>
                <a:gd name="T5" fmla="*/ 22 h 22"/>
                <a:gd name="T6" fmla="*/ 16 w 16"/>
                <a:gd name="T7" fmla="*/ 14 h 22"/>
                <a:gd name="T8" fmla="*/ 10 w 16"/>
                <a:gd name="T9" fmla="*/ 12 h 22"/>
                <a:gd name="T10" fmla="*/ 6 w 16"/>
                <a:gd name="T11" fmla="*/ 0 h 22"/>
                <a:gd name="T12" fmla="*/ 0 w 16"/>
                <a:gd name="T13" fmla="*/ 2 h 22"/>
                <a:gd name="T14" fmla="*/ 0 w 16"/>
                <a:gd name="T15" fmla="*/ 1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2">
                  <a:moveTo>
                    <a:pt x="0" y="14"/>
                  </a:moveTo>
                  <a:lnTo>
                    <a:pt x="6" y="22"/>
                  </a:lnTo>
                  <a:lnTo>
                    <a:pt x="14" y="22"/>
                  </a:lnTo>
                  <a:lnTo>
                    <a:pt x="16" y="14"/>
                  </a:lnTo>
                  <a:lnTo>
                    <a:pt x="10" y="12"/>
                  </a:lnTo>
                  <a:lnTo>
                    <a:pt x="6" y="0"/>
                  </a:lnTo>
                  <a:lnTo>
                    <a:pt x="0" y="2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" name="Freeform 230"/>
            <p:cNvSpPr>
              <a:spLocks/>
            </p:cNvSpPr>
            <p:nvPr/>
          </p:nvSpPr>
          <p:spPr bwMode="auto">
            <a:xfrm>
              <a:off x="7516417" y="1524616"/>
              <a:ext cx="14288" cy="16669"/>
            </a:xfrm>
            <a:custGeom>
              <a:avLst/>
              <a:gdLst>
                <a:gd name="T0" fmla="*/ 4 w 12"/>
                <a:gd name="T1" fmla="*/ 14 h 14"/>
                <a:gd name="T2" fmla="*/ 10 w 12"/>
                <a:gd name="T3" fmla="*/ 14 h 14"/>
                <a:gd name="T4" fmla="*/ 12 w 12"/>
                <a:gd name="T5" fmla="*/ 8 h 14"/>
                <a:gd name="T6" fmla="*/ 8 w 12"/>
                <a:gd name="T7" fmla="*/ 0 h 14"/>
                <a:gd name="T8" fmla="*/ 4 w 12"/>
                <a:gd name="T9" fmla="*/ 0 h 14"/>
                <a:gd name="T10" fmla="*/ 0 w 12"/>
                <a:gd name="T11" fmla="*/ 8 h 14"/>
                <a:gd name="T12" fmla="*/ 4 w 12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4">
                  <a:moveTo>
                    <a:pt x="4" y="14"/>
                  </a:moveTo>
                  <a:lnTo>
                    <a:pt x="10" y="14"/>
                  </a:lnTo>
                  <a:lnTo>
                    <a:pt x="12" y="8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8"/>
                  </a:lnTo>
                  <a:lnTo>
                    <a:pt x="4" y="14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" name="Freeform 231"/>
            <p:cNvSpPr>
              <a:spLocks/>
            </p:cNvSpPr>
            <p:nvPr/>
          </p:nvSpPr>
          <p:spPr bwMode="auto">
            <a:xfrm>
              <a:off x="7530704" y="1546046"/>
              <a:ext cx="9525" cy="19050"/>
            </a:xfrm>
            <a:custGeom>
              <a:avLst/>
              <a:gdLst>
                <a:gd name="T0" fmla="*/ 0 w 8"/>
                <a:gd name="T1" fmla="*/ 8 h 16"/>
                <a:gd name="T2" fmla="*/ 2 w 8"/>
                <a:gd name="T3" fmla="*/ 14 h 16"/>
                <a:gd name="T4" fmla="*/ 8 w 8"/>
                <a:gd name="T5" fmla="*/ 16 h 16"/>
                <a:gd name="T6" fmla="*/ 8 w 8"/>
                <a:gd name="T7" fmla="*/ 6 h 16"/>
                <a:gd name="T8" fmla="*/ 4 w 8"/>
                <a:gd name="T9" fmla="*/ 0 h 16"/>
                <a:gd name="T10" fmla="*/ 0 w 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6">
                  <a:moveTo>
                    <a:pt x="0" y="8"/>
                  </a:moveTo>
                  <a:lnTo>
                    <a:pt x="2" y="14"/>
                  </a:lnTo>
                  <a:lnTo>
                    <a:pt x="8" y="16"/>
                  </a:lnTo>
                  <a:lnTo>
                    <a:pt x="8" y="6"/>
                  </a:lnTo>
                  <a:lnTo>
                    <a:pt x="4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" name="Freeform 232"/>
            <p:cNvSpPr>
              <a:spLocks/>
            </p:cNvSpPr>
            <p:nvPr/>
          </p:nvSpPr>
          <p:spPr bwMode="auto">
            <a:xfrm>
              <a:off x="6166248" y="2343765"/>
              <a:ext cx="538163" cy="532210"/>
            </a:xfrm>
            <a:custGeom>
              <a:avLst/>
              <a:gdLst>
                <a:gd name="T0" fmla="*/ 26 w 452"/>
                <a:gd name="T1" fmla="*/ 302 h 447"/>
                <a:gd name="T2" fmla="*/ 38 w 452"/>
                <a:gd name="T3" fmla="*/ 278 h 447"/>
                <a:gd name="T4" fmla="*/ 44 w 452"/>
                <a:gd name="T5" fmla="*/ 228 h 447"/>
                <a:gd name="T6" fmla="*/ 58 w 452"/>
                <a:gd name="T7" fmla="*/ 242 h 447"/>
                <a:gd name="T8" fmla="*/ 72 w 452"/>
                <a:gd name="T9" fmla="*/ 234 h 447"/>
                <a:gd name="T10" fmla="*/ 70 w 452"/>
                <a:gd name="T11" fmla="*/ 212 h 447"/>
                <a:gd name="T12" fmla="*/ 74 w 452"/>
                <a:gd name="T13" fmla="*/ 190 h 447"/>
                <a:gd name="T14" fmla="*/ 94 w 452"/>
                <a:gd name="T15" fmla="*/ 168 h 447"/>
                <a:gd name="T16" fmla="*/ 116 w 452"/>
                <a:gd name="T17" fmla="*/ 166 h 447"/>
                <a:gd name="T18" fmla="*/ 148 w 452"/>
                <a:gd name="T19" fmla="*/ 120 h 447"/>
                <a:gd name="T20" fmla="*/ 148 w 452"/>
                <a:gd name="T21" fmla="*/ 102 h 447"/>
                <a:gd name="T22" fmla="*/ 150 w 452"/>
                <a:gd name="T23" fmla="*/ 94 h 447"/>
                <a:gd name="T24" fmla="*/ 158 w 452"/>
                <a:gd name="T25" fmla="*/ 42 h 447"/>
                <a:gd name="T26" fmla="*/ 156 w 452"/>
                <a:gd name="T27" fmla="*/ 24 h 447"/>
                <a:gd name="T28" fmla="*/ 148 w 452"/>
                <a:gd name="T29" fmla="*/ 4 h 447"/>
                <a:gd name="T30" fmla="*/ 160 w 452"/>
                <a:gd name="T31" fmla="*/ 0 h 447"/>
                <a:gd name="T32" fmla="*/ 278 w 452"/>
                <a:gd name="T33" fmla="*/ 100 h 447"/>
                <a:gd name="T34" fmla="*/ 304 w 452"/>
                <a:gd name="T35" fmla="*/ 150 h 447"/>
                <a:gd name="T36" fmla="*/ 324 w 452"/>
                <a:gd name="T37" fmla="*/ 122 h 447"/>
                <a:gd name="T38" fmla="*/ 344 w 452"/>
                <a:gd name="T39" fmla="*/ 108 h 447"/>
                <a:gd name="T40" fmla="*/ 350 w 452"/>
                <a:gd name="T41" fmla="*/ 102 h 447"/>
                <a:gd name="T42" fmla="*/ 368 w 452"/>
                <a:gd name="T43" fmla="*/ 110 h 447"/>
                <a:gd name="T44" fmla="*/ 382 w 452"/>
                <a:gd name="T45" fmla="*/ 104 h 447"/>
                <a:gd name="T46" fmla="*/ 382 w 452"/>
                <a:gd name="T47" fmla="*/ 98 h 447"/>
                <a:gd name="T48" fmla="*/ 394 w 452"/>
                <a:gd name="T49" fmla="*/ 92 h 447"/>
                <a:gd name="T50" fmla="*/ 422 w 452"/>
                <a:gd name="T51" fmla="*/ 90 h 447"/>
                <a:gd name="T52" fmla="*/ 438 w 452"/>
                <a:gd name="T53" fmla="*/ 90 h 447"/>
                <a:gd name="T54" fmla="*/ 436 w 452"/>
                <a:gd name="T55" fmla="*/ 98 h 447"/>
                <a:gd name="T56" fmla="*/ 440 w 452"/>
                <a:gd name="T57" fmla="*/ 100 h 447"/>
                <a:gd name="T58" fmla="*/ 442 w 452"/>
                <a:gd name="T59" fmla="*/ 106 h 447"/>
                <a:gd name="T60" fmla="*/ 452 w 452"/>
                <a:gd name="T61" fmla="*/ 120 h 447"/>
                <a:gd name="T62" fmla="*/ 392 w 452"/>
                <a:gd name="T63" fmla="*/ 114 h 447"/>
                <a:gd name="T64" fmla="*/ 376 w 452"/>
                <a:gd name="T65" fmla="*/ 180 h 447"/>
                <a:gd name="T66" fmla="*/ 364 w 452"/>
                <a:gd name="T67" fmla="*/ 186 h 447"/>
                <a:gd name="T68" fmla="*/ 342 w 452"/>
                <a:gd name="T69" fmla="*/ 202 h 447"/>
                <a:gd name="T70" fmla="*/ 300 w 452"/>
                <a:gd name="T71" fmla="*/ 256 h 447"/>
                <a:gd name="T72" fmla="*/ 284 w 452"/>
                <a:gd name="T73" fmla="*/ 244 h 447"/>
                <a:gd name="T74" fmla="*/ 274 w 452"/>
                <a:gd name="T75" fmla="*/ 282 h 447"/>
                <a:gd name="T76" fmla="*/ 266 w 452"/>
                <a:gd name="T77" fmla="*/ 302 h 447"/>
                <a:gd name="T78" fmla="*/ 240 w 452"/>
                <a:gd name="T79" fmla="*/ 368 h 447"/>
                <a:gd name="T80" fmla="*/ 240 w 452"/>
                <a:gd name="T81" fmla="*/ 383 h 447"/>
                <a:gd name="T82" fmla="*/ 228 w 452"/>
                <a:gd name="T83" fmla="*/ 403 h 447"/>
                <a:gd name="T84" fmla="*/ 200 w 452"/>
                <a:gd name="T85" fmla="*/ 413 h 447"/>
                <a:gd name="T86" fmla="*/ 186 w 452"/>
                <a:gd name="T87" fmla="*/ 413 h 447"/>
                <a:gd name="T88" fmla="*/ 186 w 452"/>
                <a:gd name="T89" fmla="*/ 423 h 447"/>
                <a:gd name="T90" fmla="*/ 140 w 452"/>
                <a:gd name="T91" fmla="*/ 427 h 447"/>
                <a:gd name="T92" fmla="*/ 116 w 452"/>
                <a:gd name="T93" fmla="*/ 447 h 447"/>
                <a:gd name="T94" fmla="*/ 84 w 452"/>
                <a:gd name="T95" fmla="*/ 431 h 447"/>
                <a:gd name="T96" fmla="*/ 76 w 452"/>
                <a:gd name="T97" fmla="*/ 419 h 447"/>
                <a:gd name="T98" fmla="*/ 76 w 452"/>
                <a:gd name="T99" fmla="*/ 411 h 447"/>
                <a:gd name="T100" fmla="*/ 54 w 452"/>
                <a:gd name="T101" fmla="*/ 401 h 447"/>
                <a:gd name="T102" fmla="*/ 38 w 452"/>
                <a:gd name="T103" fmla="*/ 385 h 447"/>
                <a:gd name="T104" fmla="*/ 20 w 452"/>
                <a:gd name="T105" fmla="*/ 362 h 447"/>
                <a:gd name="T106" fmla="*/ 6 w 452"/>
                <a:gd name="T107" fmla="*/ 330 h 447"/>
                <a:gd name="T108" fmla="*/ 2 w 452"/>
                <a:gd name="T109" fmla="*/ 310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52" h="447">
                  <a:moveTo>
                    <a:pt x="2" y="310"/>
                  </a:moveTo>
                  <a:lnTo>
                    <a:pt x="26" y="302"/>
                  </a:lnTo>
                  <a:lnTo>
                    <a:pt x="28" y="284"/>
                  </a:lnTo>
                  <a:lnTo>
                    <a:pt x="38" y="278"/>
                  </a:lnTo>
                  <a:lnTo>
                    <a:pt x="30" y="258"/>
                  </a:lnTo>
                  <a:lnTo>
                    <a:pt x="44" y="228"/>
                  </a:lnTo>
                  <a:lnTo>
                    <a:pt x="54" y="228"/>
                  </a:lnTo>
                  <a:lnTo>
                    <a:pt x="58" y="242"/>
                  </a:lnTo>
                  <a:lnTo>
                    <a:pt x="66" y="232"/>
                  </a:lnTo>
                  <a:lnTo>
                    <a:pt x="72" y="234"/>
                  </a:lnTo>
                  <a:lnTo>
                    <a:pt x="64" y="216"/>
                  </a:lnTo>
                  <a:lnTo>
                    <a:pt x="70" y="212"/>
                  </a:lnTo>
                  <a:lnTo>
                    <a:pt x="68" y="202"/>
                  </a:lnTo>
                  <a:lnTo>
                    <a:pt x="74" y="190"/>
                  </a:lnTo>
                  <a:lnTo>
                    <a:pt x="84" y="186"/>
                  </a:lnTo>
                  <a:lnTo>
                    <a:pt x="94" y="168"/>
                  </a:lnTo>
                  <a:lnTo>
                    <a:pt x="104" y="176"/>
                  </a:lnTo>
                  <a:lnTo>
                    <a:pt x="116" y="166"/>
                  </a:lnTo>
                  <a:lnTo>
                    <a:pt x="146" y="134"/>
                  </a:lnTo>
                  <a:lnTo>
                    <a:pt x="148" y="120"/>
                  </a:lnTo>
                  <a:lnTo>
                    <a:pt x="142" y="114"/>
                  </a:lnTo>
                  <a:lnTo>
                    <a:pt x="148" y="102"/>
                  </a:lnTo>
                  <a:lnTo>
                    <a:pt x="146" y="96"/>
                  </a:lnTo>
                  <a:lnTo>
                    <a:pt x="150" y="94"/>
                  </a:lnTo>
                  <a:lnTo>
                    <a:pt x="150" y="72"/>
                  </a:lnTo>
                  <a:lnTo>
                    <a:pt x="158" y="42"/>
                  </a:lnTo>
                  <a:lnTo>
                    <a:pt x="154" y="32"/>
                  </a:lnTo>
                  <a:lnTo>
                    <a:pt x="156" y="24"/>
                  </a:lnTo>
                  <a:lnTo>
                    <a:pt x="146" y="8"/>
                  </a:lnTo>
                  <a:lnTo>
                    <a:pt x="148" y="4"/>
                  </a:lnTo>
                  <a:lnTo>
                    <a:pt x="160" y="0"/>
                  </a:lnTo>
                  <a:lnTo>
                    <a:pt x="160" y="0"/>
                  </a:lnTo>
                  <a:lnTo>
                    <a:pt x="178" y="116"/>
                  </a:lnTo>
                  <a:lnTo>
                    <a:pt x="278" y="100"/>
                  </a:lnTo>
                  <a:lnTo>
                    <a:pt x="286" y="166"/>
                  </a:lnTo>
                  <a:lnTo>
                    <a:pt x="304" y="150"/>
                  </a:lnTo>
                  <a:lnTo>
                    <a:pt x="318" y="126"/>
                  </a:lnTo>
                  <a:lnTo>
                    <a:pt x="324" y="122"/>
                  </a:lnTo>
                  <a:lnTo>
                    <a:pt x="332" y="126"/>
                  </a:lnTo>
                  <a:lnTo>
                    <a:pt x="344" y="108"/>
                  </a:lnTo>
                  <a:lnTo>
                    <a:pt x="346" y="98"/>
                  </a:lnTo>
                  <a:lnTo>
                    <a:pt x="350" y="102"/>
                  </a:lnTo>
                  <a:lnTo>
                    <a:pt x="350" y="106"/>
                  </a:lnTo>
                  <a:lnTo>
                    <a:pt x="368" y="110"/>
                  </a:lnTo>
                  <a:lnTo>
                    <a:pt x="378" y="108"/>
                  </a:lnTo>
                  <a:lnTo>
                    <a:pt x="382" y="104"/>
                  </a:lnTo>
                  <a:lnTo>
                    <a:pt x="378" y="100"/>
                  </a:lnTo>
                  <a:lnTo>
                    <a:pt x="382" y="98"/>
                  </a:lnTo>
                  <a:lnTo>
                    <a:pt x="380" y="96"/>
                  </a:lnTo>
                  <a:lnTo>
                    <a:pt x="394" y="92"/>
                  </a:lnTo>
                  <a:lnTo>
                    <a:pt x="402" y="82"/>
                  </a:lnTo>
                  <a:lnTo>
                    <a:pt x="422" y="90"/>
                  </a:lnTo>
                  <a:lnTo>
                    <a:pt x="436" y="86"/>
                  </a:lnTo>
                  <a:lnTo>
                    <a:pt x="438" y="90"/>
                  </a:lnTo>
                  <a:lnTo>
                    <a:pt x="434" y="94"/>
                  </a:lnTo>
                  <a:lnTo>
                    <a:pt x="436" y="98"/>
                  </a:lnTo>
                  <a:lnTo>
                    <a:pt x="440" y="96"/>
                  </a:lnTo>
                  <a:lnTo>
                    <a:pt x="440" y="100"/>
                  </a:lnTo>
                  <a:lnTo>
                    <a:pt x="446" y="100"/>
                  </a:lnTo>
                  <a:lnTo>
                    <a:pt x="442" y="106"/>
                  </a:lnTo>
                  <a:lnTo>
                    <a:pt x="450" y="110"/>
                  </a:lnTo>
                  <a:lnTo>
                    <a:pt x="452" y="120"/>
                  </a:lnTo>
                  <a:lnTo>
                    <a:pt x="446" y="144"/>
                  </a:lnTo>
                  <a:lnTo>
                    <a:pt x="392" y="114"/>
                  </a:lnTo>
                  <a:lnTo>
                    <a:pt x="390" y="154"/>
                  </a:lnTo>
                  <a:lnTo>
                    <a:pt x="376" y="180"/>
                  </a:lnTo>
                  <a:lnTo>
                    <a:pt x="368" y="188"/>
                  </a:lnTo>
                  <a:lnTo>
                    <a:pt x="364" y="186"/>
                  </a:lnTo>
                  <a:lnTo>
                    <a:pt x="356" y="208"/>
                  </a:lnTo>
                  <a:lnTo>
                    <a:pt x="342" y="202"/>
                  </a:lnTo>
                  <a:lnTo>
                    <a:pt x="322" y="260"/>
                  </a:lnTo>
                  <a:lnTo>
                    <a:pt x="300" y="256"/>
                  </a:lnTo>
                  <a:lnTo>
                    <a:pt x="294" y="246"/>
                  </a:lnTo>
                  <a:lnTo>
                    <a:pt x="284" y="244"/>
                  </a:lnTo>
                  <a:lnTo>
                    <a:pt x="282" y="266"/>
                  </a:lnTo>
                  <a:lnTo>
                    <a:pt x="274" y="282"/>
                  </a:lnTo>
                  <a:lnTo>
                    <a:pt x="276" y="288"/>
                  </a:lnTo>
                  <a:lnTo>
                    <a:pt x="266" y="302"/>
                  </a:lnTo>
                  <a:lnTo>
                    <a:pt x="262" y="322"/>
                  </a:lnTo>
                  <a:lnTo>
                    <a:pt x="240" y="368"/>
                  </a:lnTo>
                  <a:lnTo>
                    <a:pt x="248" y="373"/>
                  </a:lnTo>
                  <a:lnTo>
                    <a:pt x="240" y="383"/>
                  </a:lnTo>
                  <a:lnTo>
                    <a:pt x="244" y="387"/>
                  </a:lnTo>
                  <a:lnTo>
                    <a:pt x="228" y="403"/>
                  </a:lnTo>
                  <a:lnTo>
                    <a:pt x="220" y="399"/>
                  </a:lnTo>
                  <a:lnTo>
                    <a:pt x="200" y="413"/>
                  </a:lnTo>
                  <a:lnTo>
                    <a:pt x="188" y="409"/>
                  </a:lnTo>
                  <a:lnTo>
                    <a:pt x="186" y="413"/>
                  </a:lnTo>
                  <a:lnTo>
                    <a:pt x="190" y="419"/>
                  </a:lnTo>
                  <a:lnTo>
                    <a:pt x="186" y="423"/>
                  </a:lnTo>
                  <a:lnTo>
                    <a:pt x="156" y="437"/>
                  </a:lnTo>
                  <a:lnTo>
                    <a:pt x="140" y="427"/>
                  </a:lnTo>
                  <a:lnTo>
                    <a:pt x="136" y="435"/>
                  </a:lnTo>
                  <a:lnTo>
                    <a:pt x="116" y="447"/>
                  </a:lnTo>
                  <a:lnTo>
                    <a:pt x="94" y="439"/>
                  </a:lnTo>
                  <a:lnTo>
                    <a:pt x="84" y="431"/>
                  </a:lnTo>
                  <a:lnTo>
                    <a:pt x="82" y="423"/>
                  </a:lnTo>
                  <a:lnTo>
                    <a:pt x="76" y="419"/>
                  </a:lnTo>
                  <a:lnTo>
                    <a:pt x="80" y="413"/>
                  </a:lnTo>
                  <a:lnTo>
                    <a:pt x="76" y="411"/>
                  </a:lnTo>
                  <a:lnTo>
                    <a:pt x="60" y="409"/>
                  </a:lnTo>
                  <a:lnTo>
                    <a:pt x="54" y="401"/>
                  </a:lnTo>
                  <a:lnTo>
                    <a:pt x="42" y="397"/>
                  </a:lnTo>
                  <a:lnTo>
                    <a:pt x="38" y="385"/>
                  </a:lnTo>
                  <a:lnTo>
                    <a:pt x="20" y="368"/>
                  </a:lnTo>
                  <a:lnTo>
                    <a:pt x="20" y="36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2" y="310"/>
                  </a:lnTo>
                  <a:lnTo>
                    <a:pt x="2" y="31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" name="Freeform 233"/>
            <p:cNvSpPr>
              <a:spLocks/>
            </p:cNvSpPr>
            <p:nvPr/>
          </p:nvSpPr>
          <p:spPr bwMode="auto">
            <a:xfrm>
              <a:off x="5289948" y="2956938"/>
              <a:ext cx="1023938" cy="350044"/>
            </a:xfrm>
            <a:custGeom>
              <a:avLst/>
              <a:gdLst>
                <a:gd name="T0" fmla="*/ 858 w 860"/>
                <a:gd name="T1" fmla="*/ 0 h 294"/>
                <a:gd name="T2" fmla="*/ 656 w 860"/>
                <a:gd name="T3" fmla="*/ 26 h 294"/>
                <a:gd name="T4" fmla="*/ 370 w 860"/>
                <a:gd name="T5" fmla="*/ 56 h 294"/>
                <a:gd name="T6" fmla="*/ 366 w 860"/>
                <a:gd name="T7" fmla="*/ 62 h 294"/>
                <a:gd name="T8" fmla="*/ 238 w 860"/>
                <a:gd name="T9" fmla="*/ 72 h 294"/>
                <a:gd name="T10" fmla="*/ 236 w 860"/>
                <a:gd name="T11" fmla="*/ 68 h 294"/>
                <a:gd name="T12" fmla="*/ 214 w 860"/>
                <a:gd name="T13" fmla="*/ 68 h 294"/>
                <a:gd name="T14" fmla="*/ 220 w 860"/>
                <a:gd name="T15" fmla="*/ 92 h 294"/>
                <a:gd name="T16" fmla="*/ 78 w 860"/>
                <a:gd name="T17" fmla="*/ 100 h 294"/>
                <a:gd name="T18" fmla="*/ 76 w 860"/>
                <a:gd name="T19" fmla="*/ 108 h 294"/>
                <a:gd name="T20" fmla="*/ 72 w 860"/>
                <a:gd name="T21" fmla="*/ 94 h 294"/>
                <a:gd name="T22" fmla="*/ 66 w 860"/>
                <a:gd name="T23" fmla="*/ 96 h 294"/>
                <a:gd name="T24" fmla="*/ 70 w 860"/>
                <a:gd name="T25" fmla="*/ 116 h 294"/>
                <a:gd name="T26" fmla="*/ 60 w 860"/>
                <a:gd name="T27" fmla="*/ 124 h 294"/>
                <a:gd name="T28" fmla="*/ 68 w 860"/>
                <a:gd name="T29" fmla="*/ 132 h 294"/>
                <a:gd name="T30" fmla="*/ 56 w 860"/>
                <a:gd name="T31" fmla="*/ 134 h 294"/>
                <a:gd name="T32" fmla="*/ 64 w 860"/>
                <a:gd name="T33" fmla="*/ 148 h 294"/>
                <a:gd name="T34" fmla="*/ 52 w 860"/>
                <a:gd name="T35" fmla="*/ 166 h 294"/>
                <a:gd name="T36" fmla="*/ 60 w 860"/>
                <a:gd name="T37" fmla="*/ 178 h 294"/>
                <a:gd name="T38" fmla="*/ 48 w 860"/>
                <a:gd name="T39" fmla="*/ 180 h 294"/>
                <a:gd name="T40" fmla="*/ 54 w 860"/>
                <a:gd name="T41" fmla="*/ 186 h 294"/>
                <a:gd name="T42" fmla="*/ 52 w 860"/>
                <a:gd name="T43" fmla="*/ 190 h 294"/>
                <a:gd name="T44" fmla="*/ 32 w 860"/>
                <a:gd name="T45" fmla="*/ 202 h 294"/>
                <a:gd name="T46" fmla="*/ 38 w 860"/>
                <a:gd name="T47" fmla="*/ 212 h 294"/>
                <a:gd name="T48" fmla="*/ 32 w 860"/>
                <a:gd name="T49" fmla="*/ 218 h 294"/>
                <a:gd name="T50" fmla="*/ 36 w 860"/>
                <a:gd name="T51" fmla="*/ 226 h 294"/>
                <a:gd name="T52" fmla="*/ 28 w 860"/>
                <a:gd name="T53" fmla="*/ 228 h 294"/>
                <a:gd name="T54" fmla="*/ 18 w 860"/>
                <a:gd name="T55" fmla="*/ 250 h 294"/>
                <a:gd name="T56" fmla="*/ 22 w 860"/>
                <a:gd name="T57" fmla="*/ 278 h 294"/>
                <a:gd name="T58" fmla="*/ 12 w 860"/>
                <a:gd name="T59" fmla="*/ 280 h 294"/>
                <a:gd name="T60" fmla="*/ 10 w 860"/>
                <a:gd name="T61" fmla="*/ 288 h 294"/>
                <a:gd name="T62" fmla="*/ 0 w 860"/>
                <a:gd name="T63" fmla="*/ 294 h 294"/>
                <a:gd name="T64" fmla="*/ 218 w 860"/>
                <a:gd name="T65" fmla="*/ 280 h 294"/>
                <a:gd name="T66" fmla="*/ 482 w 860"/>
                <a:gd name="T67" fmla="*/ 258 h 294"/>
                <a:gd name="T68" fmla="*/ 616 w 860"/>
                <a:gd name="T69" fmla="*/ 244 h 294"/>
                <a:gd name="T70" fmla="*/ 616 w 860"/>
                <a:gd name="T71" fmla="*/ 216 h 294"/>
                <a:gd name="T72" fmla="*/ 620 w 860"/>
                <a:gd name="T73" fmla="*/ 210 h 294"/>
                <a:gd name="T74" fmla="*/ 636 w 860"/>
                <a:gd name="T75" fmla="*/ 210 h 294"/>
                <a:gd name="T76" fmla="*/ 642 w 860"/>
                <a:gd name="T77" fmla="*/ 188 h 294"/>
                <a:gd name="T78" fmla="*/ 654 w 860"/>
                <a:gd name="T79" fmla="*/ 176 h 294"/>
                <a:gd name="T80" fmla="*/ 666 w 860"/>
                <a:gd name="T81" fmla="*/ 168 h 294"/>
                <a:gd name="T82" fmla="*/ 692 w 860"/>
                <a:gd name="T83" fmla="*/ 164 h 294"/>
                <a:gd name="T84" fmla="*/ 722 w 860"/>
                <a:gd name="T85" fmla="*/ 136 h 294"/>
                <a:gd name="T86" fmla="*/ 740 w 860"/>
                <a:gd name="T87" fmla="*/ 130 h 294"/>
                <a:gd name="T88" fmla="*/ 746 w 860"/>
                <a:gd name="T89" fmla="*/ 116 h 294"/>
                <a:gd name="T90" fmla="*/ 746 w 860"/>
                <a:gd name="T91" fmla="*/ 108 h 294"/>
                <a:gd name="T92" fmla="*/ 756 w 860"/>
                <a:gd name="T93" fmla="*/ 110 h 294"/>
                <a:gd name="T94" fmla="*/ 758 w 860"/>
                <a:gd name="T95" fmla="*/ 100 h 294"/>
                <a:gd name="T96" fmla="*/ 772 w 860"/>
                <a:gd name="T97" fmla="*/ 90 h 294"/>
                <a:gd name="T98" fmla="*/ 780 w 860"/>
                <a:gd name="T99" fmla="*/ 102 h 294"/>
                <a:gd name="T100" fmla="*/ 804 w 860"/>
                <a:gd name="T101" fmla="*/ 76 h 294"/>
                <a:gd name="T102" fmla="*/ 812 w 860"/>
                <a:gd name="T103" fmla="*/ 72 h 294"/>
                <a:gd name="T104" fmla="*/ 828 w 860"/>
                <a:gd name="T105" fmla="*/ 78 h 294"/>
                <a:gd name="T106" fmla="*/ 840 w 860"/>
                <a:gd name="T107" fmla="*/ 50 h 294"/>
                <a:gd name="T108" fmla="*/ 850 w 860"/>
                <a:gd name="T109" fmla="*/ 42 h 294"/>
                <a:gd name="T110" fmla="*/ 860 w 860"/>
                <a:gd name="T111" fmla="*/ 42 h 294"/>
                <a:gd name="T112" fmla="*/ 854 w 860"/>
                <a:gd name="T113" fmla="*/ 36 h 294"/>
                <a:gd name="T114" fmla="*/ 858 w 860"/>
                <a:gd name="T115" fmla="*/ 24 h 294"/>
                <a:gd name="T116" fmla="*/ 856 w 860"/>
                <a:gd name="T117" fmla="*/ 18 h 294"/>
                <a:gd name="T118" fmla="*/ 858 w 860"/>
                <a:gd name="T119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60" h="294">
                  <a:moveTo>
                    <a:pt x="858" y="0"/>
                  </a:moveTo>
                  <a:lnTo>
                    <a:pt x="656" y="26"/>
                  </a:lnTo>
                  <a:lnTo>
                    <a:pt x="370" y="56"/>
                  </a:lnTo>
                  <a:lnTo>
                    <a:pt x="366" y="62"/>
                  </a:lnTo>
                  <a:lnTo>
                    <a:pt x="238" y="72"/>
                  </a:lnTo>
                  <a:lnTo>
                    <a:pt x="236" y="68"/>
                  </a:lnTo>
                  <a:lnTo>
                    <a:pt x="214" y="68"/>
                  </a:lnTo>
                  <a:lnTo>
                    <a:pt x="220" y="92"/>
                  </a:lnTo>
                  <a:lnTo>
                    <a:pt x="78" y="100"/>
                  </a:lnTo>
                  <a:lnTo>
                    <a:pt x="76" y="108"/>
                  </a:lnTo>
                  <a:lnTo>
                    <a:pt x="72" y="94"/>
                  </a:lnTo>
                  <a:lnTo>
                    <a:pt x="66" y="96"/>
                  </a:lnTo>
                  <a:lnTo>
                    <a:pt x="70" y="116"/>
                  </a:lnTo>
                  <a:lnTo>
                    <a:pt x="60" y="124"/>
                  </a:lnTo>
                  <a:lnTo>
                    <a:pt x="68" y="132"/>
                  </a:lnTo>
                  <a:lnTo>
                    <a:pt x="56" y="134"/>
                  </a:lnTo>
                  <a:lnTo>
                    <a:pt x="64" y="148"/>
                  </a:lnTo>
                  <a:lnTo>
                    <a:pt x="52" y="166"/>
                  </a:lnTo>
                  <a:lnTo>
                    <a:pt x="60" y="178"/>
                  </a:lnTo>
                  <a:lnTo>
                    <a:pt x="48" y="180"/>
                  </a:lnTo>
                  <a:lnTo>
                    <a:pt x="54" y="186"/>
                  </a:lnTo>
                  <a:lnTo>
                    <a:pt x="52" y="190"/>
                  </a:lnTo>
                  <a:lnTo>
                    <a:pt x="32" y="202"/>
                  </a:lnTo>
                  <a:lnTo>
                    <a:pt x="38" y="212"/>
                  </a:lnTo>
                  <a:lnTo>
                    <a:pt x="32" y="218"/>
                  </a:lnTo>
                  <a:lnTo>
                    <a:pt x="36" y="226"/>
                  </a:lnTo>
                  <a:lnTo>
                    <a:pt x="28" y="228"/>
                  </a:lnTo>
                  <a:lnTo>
                    <a:pt x="18" y="250"/>
                  </a:lnTo>
                  <a:lnTo>
                    <a:pt x="22" y="278"/>
                  </a:lnTo>
                  <a:lnTo>
                    <a:pt x="12" y="280"/>
                  </a:lnTo>
                  <a:lnTo>
                    <a:pt x="10" y="288"/>
                  </a:lnTo>
                  <a:lnTo>
                    <a:pt x="0" y="294"/>
                  </a:lnTo>
                  <a:lnTo>
                    <a:pt x="218" y="280"/>
                  </a:lnTo>
                  <a:lnTo>
                    <a:pt x="482" y="258"/>
                  </a:lnTo>
                  <a:lnTo>
                    <a:pt x="616" y="244"/>
                  </a:lnTo>
                  <a:lnTo>
                    <a:pt x="616" y="216"/>
                  </a:lnTo>
                  <a:lnTo>
                    <a:pt x="620" y="210"/>
                  </a:lnTo>
                  <a:lnTo>
                    <a:pt x="636" y="210"/>
                  </a:lnTo>
                  <a:lnTo>
                    <a:pt x="642" y="188"/>
                  </a:lnTo>
                  <a:lnTo>
                    <a:pt x="654" y="176"/>
                  </a:lnTo>
                  <a:lnTo>
                    <a:pt x="666" y="168"/>
                  </a:lnTo>
                  <a:lnTo>
                    <a:pt x="692" y="164"/>
                  </a:lnTo>
                  <a:lnTo>
                    <a:pt x="722" y="136"/>
                  </a:lnTo>
                  <a:lnTo>
                    <a:pt x="740" y="130"/>
                  </a:lnTo>
                  <a:lnTo>
                    <a:pt x="746" y="116"/>
                  </a:lnTo>
                  <a:lnTo>
                    <a:pt x="746" y="108"/>
                  </a:lnTo>
                  <a:lnTo>
                    <a:pt x="756" y="110"/>
                  </a:lnTo>
                  <a:lnTo>
                    <a:pt x="758" y="100"/>
                  </a:lnTo>
                  <a:lnTo>
                    <a:pt x="772" y="90"/>
                  </a:lnTo>
                  <a:lnTo>
                    <a:pt x="780" y="102"/>
                  </a:lnTo>
                  <a:lnTo>
                    <a:pt x="804" y="76"/>
                  </a:lnTo>
                  <a:lnTo>
                    <a:pt x="812" y="72"/>
                  </a:lnTo>
                  <a:lnTo>
                    <a:pt x="828" y="78"/>
                  </a:lnTo>
                  <a:lnTo>
                    <a:pt x="840" y="50"/>
                  </a:lnTo>
                  <a:lnTo>
                    <a:pt x="850" y="42"/>
                  </a:lnTo>
                  <a:lnTo>
                    <a:pt x="860" y="42"/>
                  </a:lnTo>
                  <a:lnTo>
                    <a:pt x="854" y="36"/>
                  </a:lnTo>
                  <a:lnTo>
                    <a:pt x="858" y="24"/>
                  </a:lnTo>
                  <a:lnTo>
                    <a:pt x="856" y="18"/>
                  </a:lnTo>
                  <a:lnTo>
                    <a:pt x="858" y="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" name="Freeform 234"/>
            <p:cNvSpPr>
              <a:spLocks/>
            </p:cNvSpPr>
            <p:nvPr/>
          </p:nvSpPr>
          <p:spPr bwMode="auto">
            <a:xfrm>
              <a:off x="5668566" y="3840382"/>
              <a:ext cx="1073944" cy="823913"/>
            </a:xfrm>
            <a:custGeom>
              <a:avLst/>
              <a:gdLst>
                <a:gd name="T0" fmla="*/ 42 w 902"/>
                <a:gd name="T1" fmla="*/ 102 h 692"/>
                <a:gd name="T2" fmla="*/ 62 w 902"/>
                <a:gd name="T3" fmla="*/ 90 h 692"/>
                <a:gd name="T4" fmla="*/ 66 w 902"/>
                <a:gd name="T5" fmla="*/ 96 h 692"/>
                <a:gd name="T6" fmla="*/ 140 w 902"/>
                <a:gd name="T7" fmla="*/ 94 h 692"/>
                <a:gd name="T8" fmla="*/ 148 w 902"/>
                <a:gd name="T9" fmla="*/ 102 h 692"/>
                <a:gd name="T10" fmla="*/ 144 w 902"/>
                <a:gd name="T11" fmla="*/ 108 h 692"/>
                <a:gd name="T12" fmla="*/ 256 w 902"/>
                <a:gd name="T13" fmla="*/ 172 h 692"/>
                <a:gd name="T14" fmla="*/ 322 w 902"/>
                <a:gd name="T15" fmla="*/ 162 h 692"/>
                <a:gd name="T16" fmla="*/ 360 w 902"/>
                <a:gd name="T17" fmla="*/ 142 h 692"/>
                <a:gd name="T18" fmla="*/ 362 w 902"/>
                <a:gd name="T19" fmla="*/ 130 h 692"/>
                <a:gd name="T20" fmla="*/ 400 w 902"/>
                <a:gd name="T21" fmla="*/ 118 h 692"/>
                <a:gd name="T22" fmla="*/ 458 w 902"/>
                <a:gd name="T23" fmla="*/ 156 h 692"/>
                <a:gd name="T24" fmla="*/ 472 w 902"/>
                <a:gd name="T25" fmla="*/ 180 h 692"/>
                <a:gd name="T26" fmla="*/ 506 w 902"/>
                <a:gd name="T27" fmla="*/ 206 h 692"/>
                <a:gd name="T28" fmla="*/ 552 w 902"/>
                <a:gd name="T29" fmla="*/ 226 h 692"/>
                <a:gd name="T30" fmla="*/ 572 w 902"/>
                <a:gd name="T31" fmla="*/ 384 h 692"/>
                <a:gd name="T32" fmla="*/ 580 w 902"/>
                <a:gd name="T33" fmla="*/ 364 h 692"/>
                <a:gd name="T34" fmla="*/ 600 w 902"/>
                <a:gd name="T35" fmla="*/ 372 h 692"/>
                <a:gd name="T36" fmla="*/ 598 w 902"/>
                <a:gd name="T37" fmla="*/ 438 h 692"/>
                <a:gd name="T38" fmla="*/ 650 w 902"/>
                <a:gd name="T39" fmla="*/ 496 h 692"/>
                <a:gd name="T40" fmla="*/ 674 w 902"/>
                <a:gd name="T41" fmla="*/ 522 h 692"/>
                <a:gd name="T42" fmla="*/ 686 w 902"/>
                <a:gd name="T43" fmla="*/ 518 h 692"/>
                <a:gd name="T44" fmla="*/ 680 w 902"/>
                <a:gd name="T45" fmla="*/ 536 h 692"/>
                <a:gd name="T46" fmla="*/ 720 w 902"/>
                <a:gd name="T47" fmla="*/ 598 h 692"/>
                <a:gd name="T48" fmla="*/ 750 w 902"/>
                <a:gd name="T49" fmla="*/ 606 h 692"/>
                <a:gd name="T50" fmla="*/ 792 w 902"/>
                <a:gd name="T51" fmla="*/ 658 h 692"/>
                <a:gd name="T52" fmla="*/ 796 w 902"/>
                <a:gd name="T53" fmla="*/ 688 h 692"/>
                <a:gd name="T54" fmla="*/ 852 w 902"/>
                <a:gd name="T55" fmla="*/ 680 h 692"/>
                <a:gd name="T56" fmla="*/ 894 w 902"/>
                <a:gd name="T57" fmla="*/ 670 h 692"/>
                <a:gd name="T58" fmla="*/ 890 w 902"/>
                <a:gd name="T59" fmla="*/ 646 h 692"/>
                <a:gd name="T60" fmla="*/ 886 w 902"/>
                <a:gd name="T61" fmla="*/ 452 h 692"/>
                <a:gd name="T62" fmla="*/ 796 w 902"/>
                <a:gd name="T63" fmla="*/ 260 h 692"/>
                <a:gd name="T64" fmla="*/ 660 w 902"/>
                <a:gd name="T65" fmla="*/ 18 h 692"/>
                <a:gd name="T66" fmla="*/ 612 w 902"/>
                <a:gd name="T67" fmla="*/ 0 h 692"/>
                <a:gd name="T68" fmla="*/ 612 w 902"/>
                <a:gd name="T69" fmla="*/ 32 h 692"/>
                <a:gd name="T70" fmla="*/ 598 w 902"/>
                <a:gd name="T71" fmla="*/ 58 h 692"/>
                <a:gd name="T72" fmla="*/ 588 w 902"/>
                <a:gd name="T73" fmla="*/ 34 h 692"/>
                <a:gd name="T74" fmla="*/ 288 w 902"/>
                <a:gd name="T75" fmla="*/ 38 h 692"/>
                <a:gd name="T76" fmla="*/ 0 w 902"/>
                <a:gd name="T77" fmla="*/ 42 h 692"/>
                <a:gd name="T78" fmla="*/ 26 w 902"/>
                <a:gd name="T79" fmla="*/ 84 h 692"/>
                <a:gd name="T80" fmla="*/ 26 w 902"/>
                <a:gd name="T81" fmla="*/ 120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02" h="692">
                  <a:moveTo>
                    <a:pt x="26" y="120"/>
                  </a:moveTo>
                  <a:lnTo>
                    <a:pt x="42" y="102"/>
                  </a:lnTo>
                  <a:lnTo>
                    <a:pt x="52" y="100"/>
                  </a:lnTo>
                  <a:lnTo>
                    <a:pt x="62" y="90"/>
                  </a:lnTo>
                  <a:lnTo>
                    <a:pt x="64" y="90"/>
                  </a:lnTo>
                  <a:lnTo>
                    <a:pt x="66" y="96"/>
                  </a:lnTo>
                  <a:lnTo>
                    <a:pt x="60" y="110"/>
                  </a:lnTo>
                  <a:lnTo>
                    <a:pt x="140" y="94"/>
                  </a:lnTo>
                  <a:lnTo>
                    <a:pt x="150" y="96"/>
                  </a:lnTo>
                  <a:lnTo>
                    <a:pt x="148" y="102"/>
                  </a:lnTo>
                  <a:lnTo>
                    <a:pt x="142" y="106"/>
                  </a:lnTo>
                  <a:lnTo>
                    <a:pt x="144" y="108"/>
                  </a:lnTo>
                  <a:lnTo>
                    <a:pt x="234" y="146"/>
                  </a:lnTo>
                  <a:lnTo>
                    <a:pt x="256" y="172"/>
                  </a:lnTo>
                  <a:lnTo>
                    <a:pt x="266" y="178"/>
                  </a:lnTo>
                  <a:lnTo>
                    <a:pt x="322" y="162"/>
                  </a:lnTo>
                  <a:lnTo>
                    <a:pt x="348" y="144"/>
                  </a:lnTo>
                  <a:lnTo>
                    <a:pt x="360" y="142"/>
                  </a:lnTo>
                  <a:lnTo>
                    <a:pt x="362" y="140"/>
                  </a:lnTo>
                  <a:lnTo>
                    <a:pt x="362" y="130"/>
                  </a:lnTo>
                  <a:lnTo>
                    <a:pt x="372" y="122"/>
                  </a:lnTo>
                  <a:lnTo>
                    <a:pt x="400" y="118"/>
                  </a:lnTo>
                  <a:lnTo>
                    <a:pt x="420" y="124"/>
                  </a:lnTo>
                  <a:lnTo>
                    <a:pt x="458" y="156"/>
                  </a:lnTo>
                  <a:lnTo>
                    <a:pt x="468" y="160"/>
                  </a:lnTo>
                  <a:lnTo>
                    <a:pt x="472" y="180"/>
                  </a:lnTo>
                  <a:lnTo>
                    <a:pt x="482" y="184"/>
                  </a:lnTo>
                  <a:lnTo>
                    <a:pt x="506" y="206"/>
                  </a:lnTo>
                  <a:lnTo>
                    <a:pt x="546" y="220"/>
                  </a:lnTo>
                  <a:lnTo>
                    <a:pt x="552" y="226"/>
                  </a:lnTo>
                  <a:lnTo>
                    <a:pt x="570" y="382"/>
                  </a:lnTo>
                  <a:lnTo>
                    <a:pt x="572" y="384"/>
                  </a:lnTo>
                  <a:lnTo>
                    <a:pt x="582" y="382"/>
                  </a:lnTo>
                  <a:lnTo>
                    <a:pt x="580" y="364"/>
                  </a:lnTo>
                  <a:lnTo>
                    <a:pt x="590" y="366"/>
                  </a:lnTo>
                  <a:lnTo>
                    <a:pt x="600" y="372"/>
                  </a:lnTo>
                  <a:lnTo>
                    <a:pt x="592" y="418"/>
                  </a:lnTo>
                  <a:lnTo>
                    <a:pt x="598" y="438"/>
                  </a:lnTo>
                  <a:lnTo>
                    <a:pt x="646" y="494"/>
                  </a:lnTo>
                  <a:lnTo>
                    <a:pt x="650" y="496"/>
                  </a:lnTo>
                  <a:lnTo>
                    <a:pt x="664" y="488"/>
                  </a:lnTo>
                  <a:lnTo>
                    <a:pt x="674" y="522"/>
                  </a:lnTo>
                  <a:lnTo>
                    <a:pt x="684" y="518"/>
                  </a:lnTo>
                  <a:lnTo>
                    <a:pt x="686" y="518"/>
                  </a:lnTo>
                  <a:lnTo>
                    <a:pt x="682" y="530"/>
                  </a:lnTo>
                  <a:lnTo>
                    <a:pt x="680" y="536"/>
                  </a:lnTo>
                  <a:lnTo>
                    <a:pt x="702" y="560"/>
                  </a:lnTo>
                  <a:lnTo>
                    <a:pt x="720" y="598"/>
                  </a:lnTo>
                  <a:lnTo>
                    <a:pt x="732" y="608"/>
                  </a:lnTo>
                  <a:lnTo>
                    <a:pt x="750" y="606"/>
                  </a:lnTo>
                  <a:lnTo>
                    <a:pt x="764" y="616"/>
                  </a:lnTo>
                  <a:lnTo>
                    <a:pt x="792" y="658"/>
                  </a:lnTo>
                  <a:lnTo>
                    <a:pt x="794" y="684"/>
                  </a:lnTo>
                  <a:lnTo>
                    <a:pt x="796" y="688"/>
                  </a:lnTo>
                  <a:lnTo>
                    <a:pt x="806" y="692"/>
                  </a:lnTo>
                  <a:lnTo>
                    <a:pt x="852" y="680"/>
                  </a:lnTo>
                  <a:lnTo>
                    <a:pt x="876" y="664"/>
                  </a:lnTo>
                  <a:lnTo>
                    <a:pt x="894" y="670"/>
                  </a:lnTo>
                  <a:lnTo>
                    <a:pt x="902" y="652"/>
                  </a:lnTo>
                  <a:lnTo>
                    <a:pt x="890" y="646"/>
                  </a:lnTo>
                  <a:lnTo>
                    <a:pt x="902" y="560"/>
                  </a:lnTo>
                  <a:lnTo>
                    <a:pt x="886" y="452"/>
                  </a:lnTo>
                  <a:lnTo>
                    <a:pt x="804" y="312"/>
                  </a:lnTo>
                  <a:lnTo>
                    <a:pt x="796" y="260"/>
                  </a:lnTo>
                  <a:lnTo>
                    <a:pt x="732" y="182"/>
                  </a:lnTo>
                  <a:lnTo>
                    <a:pt x="660" y="18"/>
                  </a:lnTo>
                  <a:lnTo>
                    <a:pt x="662" y="4"/>
                  </a:lnTo>
                  <a:lnTo>
                    <a:pt x="612" y="0"/>
                  </a:lnTo>
                  <a:lnTo>
                    <a:pt x="604" y="10"/>
                  </a:lnTo>
                  <a:lnTo>
                    <a:pt x="612" y="32"/>
                  </a:lnTo>
                  <a:lnTo>
                    <a:pt x="610" y="56"/>
                  </a:lnTo>
                  <a:lnTo>
                    <a:pt x="598" y="58"/>
                  </a:lnTo>
                  <a:lnTo>
                    <a:pt x="592" y="52"/>
                  </a:lnTo>
                  <a:lnTo>
                    <a:pt x="588" y="34"/>
                  </a:lnTo>
                  <a:lnTo>
                    <a:pt x="300" y="50"/>
                  </a:lnTo>
                  <a:lnTo>
                    <a:pt x="288" y="38"/>
                  </a:lnTo>
                  <a:lnTo>
                    <a:pt x="280" y="16"/>
                  </a:lnTo>
                  <a:lnTo>
                    <a:pt x="0" y="42"/>
                  </a:lnTo>
                  <a:lnTo>
                    <a:pt x="0" y="60"/>
                  </a:lnTo>
                  <a:lnTo>
                    <a:pt x="26" y="84"/>
                  </a:lnTo>
                  <a:lnTo>
                    <a:pt x="22" y="100"/>
                  </a:lnTo>
                  <a:lnTo>
                    <a:pt x="26" y="12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" name="Freeform 235"/>
            <p:cNvSpPr>
              <a:spLocks/>
            </p:cNvSpPr>
            <p:nvPr/>
          </p:nvSpPr>
          <p:spPr bwMode="auto">
            <a:xfrm>
              <a:off x="6913960" y="2360435"/>
              <a:ext cx="128588" cy="211931"/>
            </a:xfrm>
            <a:custGeom>
              <a:avLst/>
              <a:gdLst>
                <a:gd name="T0" fmla="*/ 0 w 108"/>
                <a:gd name="T1" fmla="*/ 20 h 178"/>
                <a:gd name="T2" fmla="*/ 10 w 108"/>
                <a:gd name="T3" fmla="*/ 2 h 178"/>
                <a:gd name="T4" fmla="*/ 22 w 108"/>
                <a:gd name="T5" fmla="*/ 0 h 178"/>
                <a:gd name="T6" fmla="*/ 36 w 108"/>
                <a:gd name="T7" fmla="*/ 4 h 178"/>
                <a:gd name="T8" fmla="*/ 30 w 108"/>
                <a:gd name="T9" fmla="*/ 10 h 178"/>
                <a:gd name="T10" fmla="*/ 24 w 108"/>
                <a:gd name="T11" fmla="*/ 28 h 178"/>
                <a:gd name="T12" fmla="*/ 30 w 108"/>
                <a:gd name="T13" fmla="*/ 36 h 178"/>
                <a:gd name="T14" fmla="*/ 30 w 108"/>
                <a:gd name="T15" fmla="*/ 48 h 178"/>
                <a:gd name="T16" fmla="*/ 108 w 108"/>
                <a:gd name="T17" fmla="*/ 152 h 178"/>
                <a:gd name="T18" fmla="*/ 104 w 108"/>
                <a:gd name="T19" fmla="*/ 164 h 178"/>
                <a:gd name="T20" fmla="*/ 40 w 108"/>
                <a:gd name="T21" fmla="*/ 178 h 178"/>
                <a:gd name="T22" fmla="*/ 0 w 108"/>
                <a:gd name="T23" fmla="*/ 2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" h="178">
                  <a:moveTo>
                    <a:pt x="0" y="20"/>
                  </a:moveTo>
                  <a:lnTo>
                    <a:pt x="10" y="2"/>
                  </a:lnTo>
                  <a:lnTo>
                    <a:pt x="22" y="0"/>
                  </a:lnTo>
                  <a:lnTo>
                    <a:pt x="36" y="4"/>
                  </a:lnTo>
                  <a:lnTo>
                    <a:pt x="30" y="10"/>
                  </a:lnTo>
                  <a:lnTo>
                    <a:pt x="24" y="28"/>
                  </a:lnTo>
                  <a:lnTo>
                    <a:pt x="30" y="36"/>
                  </a:lnTo>
                  <a:lnTo>
                    <a:pt x="30" y="48"/>
                  </a:lnTo>
                  <a:lnTo>
                    <a:pt x="108" y="152"/>
                  </a:lnTo>
                  <a:lnTo>
                    <a:pt x="104" y="164"/>
                  </a:lnTo>
                  <a:lnTo>
                    <a:pt x="40" y="178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" name="Freeform 236"/>
            <p:cNvSpPr>
              <a:spLocks/>
            </p:cNvSpPr>
            <p:nvPr/>
          </p:nvSpPr>
          <p:spPr bwMode="auto">
            <a:xfrm>
              <a:off x="1516858" y="1176954"/>
              <a:ext cx="945356" cy="802481"/>
            </a:xfrm>
            <a:custGeom>
              <a:avLst/>
              <a:gdLst>
                <a:gd name="T0" fmla="*/ 370 w 794"/>
                <a:gd name="T1" fmla="*/ 604 h 674"/>
                <a:gd name="T2" fmla="*/ 0 w 794"/>
                <a:gd name="T3" fmla="*/ 496 h 674"/>
                <a:gd name="T4" fmla="*/ 12 w 794"/>
                <a:gd name="T5" fmla="*/ 382 h 674"/>
                <a:gd name="T6" fmla="*/ 34 w 794"/>
                <a:gd name="T7" fmla="*/ 342 h 674"/>
                <a:gd name="T8" fmla="*/ 48 w 794"/>
                <a:gd name="T9" fmla="*/ 328 h 674"/>
                <a:gd name="T10" fmla="*/ 60 w 794"/>
                <a:gd name="T11" fmla="*/ 326 h 674"/>
                <a:gd name="T12" fmla="*/ 62 w 794"/>
                <a:gd name="T13" fmla="*/ 312 h 674"/>
                <a:gd name="T14" fmla="*/ 58 w 794"/>
                <a:gd name="T15" fmla="*/ 312 h 674"/>
                <a:gd name="T16" fmla="*/ 152 w 794"/>
                <a:gd name="T17" fmla="*/ 88 h 674"/>
                <a:gd name="T18" fmla="*/ 162 w 794"/>
                <a:gd name="T19" fmla="*/ 76 h 674"/>
                <a:gd name="T20" fmla="*/ 166 w 794"/>
                <a:gd name="T21" fmla="*/ 58 h 674"/>
                <a:gd name="T22" fmla="*/ 172 w 794"/>
                <a:gd name="T23" fmla="*/ 50 h 674"/>
                <a:gd name="T24" fmla="*/ 168 w 794"/>
                <a:gd name="T25" fmla="*/ 44 h 674"/>
                <a:gd name="T26" fmla="*/ 184 w 794"/>
                <a:gd name="T27" fmla="*/ 4 h 674"/>
                <a:gd name="T28" fmla="*/ 190 w 794"/>
                <a:gd name="T29" fmla="*/ 0 h 674"/>
                <a:gd name="T30" fmla="*/ 222 w 794"/>
                <a:gd name="T31" fmla="*/ 8 h 674"/>
                <a:gd name="T32" fmla="*/ 236 w 794"/>
                <a:gd name="T33" fmla="*/ 18 h 674"/>
                <a:gd name="T34" fmla="*/ 240 w 794"/>
                <a:gd name="T35" fmla="*/ 14 h 674"/>
                <a:gd name="T36" fmla="*/ 260 w 794"/>
                <a:gd name="T37" fmla="*/ 38 h 674"/>
                <a:gd name="T38" fmla="*/ 262 w 794"/>
                <a:gd name="T39" fmla="*/ 52 h 674"/>
                <a:gd name="T40" fmla="*/ 256 w 794"/>
                <a:gd name="T41" fmla="*/ 90 h 674"/>
                <a:gd name="T42" fmla="*/ 292 w 794"/>
                <a:gd name="T43" fmla="*/ 114 h 674"/>
                <a:gd name="T44" fmla="*/ 320 w 794"/>
                <a:gd name="T45" fmla="*/ 112 h 674"/>
                <a:gd name="T46" fmla="*/ 338 w 794"/>
                <a:gd name="T47" fmla="*/ 106 h 674"/>
                <a:gd name="T48" fmla="*/ 380 w 794"/>
                <a:gd name="T49" fmla="*/ 120 h 674"/>
                <a:gd name="T50" fmla="*/ 390 w 794"/>
                <a:gd name="T51" fmla="*/ 134 h 674"/>
                <a:gd name="T52" fmla="*/ 442 w 794"/>
                <a:gd name="T53" fmla="*/ 132 h 674"/>
                <a:gd name="T54" fmla="*/ 452 w 794"/>
                <a:gd name="T55" fmla="*/ 140 h 674"/>
                <a:gd name="T56" fmla="*/ 474 w 794"/>
                <a:gd name="T57" fmla="*/ 142 h 674"/>
                <a:gd name="T58" fmla="*/ 500 w 794"/>
                <a:gd name="T59" fmla="*/ 138 h 674"/>
                <a:gd name="T60" fmla="*/ 526 w 794"/>
                <a:gd name="T61" fmla="*/ 140 h 674"/>
                <a:gd name="T62" fmla="*/ 536 w 794"/>
                <a:gd name="T63" fmla="*/ 134 h 674"/>
                <a:gd name="T64" fmla="*/ 578 w 794"/>
                <a:gd name="T65" fmla="*/ 142 h 674"/>
                <a:gd name="T66" fmla="*/ 588 w 794"/>
                <a:gd name="T67" fmla="*/ 138 h 674"/>
                <a:gd name="T68" fmla="*/ 768 w 794"/>
                <a:gd name="T69" fmla="*/ 182 h 674"/>
                <a:gd name="T70" fmla="*/ 774 w 794"/>
                <a:gd name="T71" fmla="*/ 206 h 674"/>
                <a:gd name="T72" fmla="*/ 792 w 794"/>
                <a:gd name="T73" fmla="*/ 218 h 674"/>
                <a:gd name="T74" fmla="*/ 794 w 794"/>
                <a:gd name="T75" fmla="*/ 240 h 674"/>
                <a:gd name="T76" fmla="*/ 770 w 794"/>
                <a:gd name="T77" fmla="*/ 266 h 674"/>
                <a:gd name="T78" fmla="*/ 760 w 794"/>
                <a:gd name="T79" fmla="*/ 288 h 674"/>
                <a:gd name="T80" fmla="*/ 744 w 794"/>
                <a:gd name="T81" fmla="*/ 304 h 674"/>
                <a:gd name="T82" fmla="*/ 742 w 794"/>
                <a:gd name="T83" fmla="*/ 316 h 674"/>
                <a:gd name="T84" fmla="*/ 734 w 794"/>
                <a:gd name="T85" fmla="*/ 326 h 674"/>
                <a:gd name="T86" fmla="*/ 720 w 794"/>
                <a:gd name="T87" fmla="*/ 334 h 674"/>
                <a:gd name="T88" fmla="*/ 696 w 794"/>
                <a:gd name="T89" fmla="*/ 362 h 674"/>
                <a:gd name="T90" fmla="*/ 692 w 794"/>
                <a:gd name="T91" fmla="*/ 386 h 674"/>
                <a:gd name="T92" fmla="*/ 710 w 794"/>
                <a:gd name="T93" fmla="*/ 394 h 674"/>
                <a:gd name="T94" fmla="*/ 716 w 794"/>
                <a:gd name="T95" fmla="*/ 408 h 674"/>
                <a:gd name="T96" fmla="*/ 706 w 794"/>
                <a:gd name="T97" fmla="*/ 416 h 674"/>
                <a:gd name="T98" fmla="*/ 708 w 794"/>
                <a:gd name="T99" fmla="*/ 426 h 674"/>
                <a:gd name="T100" fmla="*/ 694 w 794"/>
                <a:gd name="T101" fmla="*/ 448 h 674"/>
                <a:gd name="T102" fmla="*/ 640 w 794"/>
                <a:gd name="T103" fmla="*/ 674 h 674"/>
                <a:gd name="T104" fmla="*/ 370 w 794"/>
                <a:gd name="T105" fmla="*/ 604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94" h="674">
                  <a:moveTo>
                    <a:pt x="370" y="604"/>
                  </a:moveTo>
                  <a:lnTo>
                    <a:pt x="0" y="496"/>
                  </a:lnTo>
                  <a:lnTo>
                    <a:pt x="12" y="382"/>
                  </a:lnTo>
                  <a:lnTo>
                    <a:pt x="34" y="342"/>
                  </a:lnTo>
                  <a:lnTo>
                    <a:pt x="48" y="328"/>
                  </a:lnTo>
                  <a:lnTo>
                    <a:pt x="60" y="326"/>
                  </a:lnTo>
                  <a:lnTo>
                    <a:pt x="62" y="312"/>
                  </a:lnTo>
                  <a:lnTo>
                    <a:pt x="58" y="312"/>
                  </a:lnTo>
                  <a:lnTo>
                    <a:pt x="152" y="88"/>
                  </a:lnTo>
                  <a:lnTo>
                    <a:pt x="162" y="76"/>
                  </a:lnTo>
                  <a:lnTo>
                    <a:pt x="166" y="58"/>
                  </a:lnTo>
                  <a:lnTo>
                    <a:pt x="172" y="50"/>
                  </a:lnTo>
                  <a:lnTo>
                    <a:pt x="168" y="44"/>
                  </a:lnTo>
                  <a:lnTo>
                    <a:pt x="184" y="4"/>
                  </a:lnTo>
                  <a:lnTo>
                    <a:pt x="190" y="0"/>
                  </a:lnTo>
                  <a:lnTo>
                    <a:pt x="222" y="8"/>
                  </a:lnTo>
                  <a:lnTo>
                    <a:pt x="236" y="18"/>
                  </a:lnTo>
                  <a:lnTo>
                    <a:pt x="240" y="14"/>
                  </a:lnTo>
                  <a:lnTo>
                    <a:pt x="260" y="38"/>
                  </a:lnTo>
                  <a:lnTo>
                    <a:pt x="262" y="52"/>
                  </a:lnTo>
                  <a:lnTo>
                    <a:pt x="256" y="90"/>
                  </a:lnTo>
                  <a:lnTo>
                    <a:pt x="292" y="114"/>
                  </a:lnTo>
                  <a:lnTo>
                    <a:pt x="320" y="112"/>
                  </a:lnTo>
                  <a:lnTo>
                    <a:pt x="338" y="106"/>
                  </a:lnTo>
                  <a:lnTo>
                    <a:pt x="380" y="120"/>
                  </a:lnTo>
                  <a:lnTo>
                    <a:pt x="390" y="134"/>
                  </a:lnTo>
                  <a:lnTo>
                    <a:pt x="442" y="132"/>
                  </a:lnTo>
                  <a:lnTo>
                    <a:pt x="452" y="140"/>
                  </a:lnTo>
                  <a:lnTo>
                    <a:pt x="474" y="142"/>
                  </a:lnTo>
                  <a:lnTo>
                    <a:pt x="500" y="138"/>
                  </a:lnTo>
                  <a:lnTo>
                    <a:pt x="526" y="140"/>
                  </a:lnTo>
                  <a:lnTo>
                    <a:pt x="536" y="134"/>
                  </a:lnTo>
                  <a:lnTo>
                    <a:pt x="578" y="142"/>
                  </a:lnTo>
                  <a:lnTo>
                    <a:pt x="588" y="138"/>
                  </a:lnTo>
                  <a:lnTo>
                    <a:pt x="768" y="182"/>
                  </a:lnTo>
                  <a:lnTo>
                    <a:pt x="774" y="206"/>
                  </a:lnTo>
                  <a:lnTo>
                    <a:pt x="792" y="218"/>
                  </a:lnTo>
                  <a:lnTo>
                    <a:pt x="794" y="240"/>
                  </a:lnTo>
                  <a:lnTo>
                    <a:pt x="770" y="266"/>
                  </a:lnTo>
                  <a:lnTo>
                    <a:pt x="760" y="288"/>
                  </a:lnTo>
                  <a:lnTo>
                    <a:pt x="744" y="304"/>
                  </a:lnTo>
                  <a:lnTo>
                    <a:pt x="742" y="316"/>
                  </a:lnTo>
                  <a:lnTo>
                    <a:pt x="734" y="326"/>
                  </a:lnTo>
                  <a:lnTo>
                    <a:pt x="720" y="334"/>
                  </a:lnTo>
                  <a:lnTo>
                    <a:pt x="696" y="362"/>
                  </a:lnTo>
                  <a:lnTo>
                    <a:pt x="692" y="386"/>
                  </a:lnTo>
                  <a:lnTo>
                    <a:pt x="710" y="394"/>
                  </a:lnTo>
                  <a:lnTo>
                    <a:pt x="716" y="408"/>
                  </a:lnTo>
                  <a:lnTo>
                    <a:pt x="706" y="416"/>
                  </a:lnTo>
                  <a:lnTo>
                    <a:pt x="708" y="426"/>
                  </a:lnTo>
                  <a:lnTo>
                    <a:pt x="694" y="448"/>
                  </a:lnTo>
                  <a:lnTo>
                    <a:pt x="640" y="674"/>
                  </a:lnTo>
                  <a:lnTo>
                    <a:pt x="370" y="604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" name="Freeform 238"/>
            <p:cNvSpPr>
              <a:spLocks/>
            </p:cNvSpPr>
            <p:nvPr/>
          </p:nvSpPr>
          <p:spPr bwMode="auto">
            <a:xfrm>
              <a:off x="3695701" y="2062779"/>
              <a:ext cx="972741" cy="497681"/>
            </a:xfrm>
            <a:custGeom>
              <a:avLst/>
              <a:gdLst>
                <a:gd name="T0" fmla="*/ 500 w 817"/>
                <a:gd name="T1" fmla="*/ 32 h 418"/>
                <a:gd name="T2" fmla="*/ 24 w 817"/>
                <a:gd name="T3" fmla="*/ 0 h 418"/>
                <a:gd name="T4" fmla="*/ 0 w 817"/>
                <a:gd name="T5" fmla="*/ 254 h 418"/>
                <a:gd name="T6" fmla="*/ 190 w 817"/>
                <a:gd name="T7" fmla="*/ 270 h 418"/>
                <a:gd name="T8" fmla="*/ 180 w 817"/>
                <a:gd name="T9" fmla="*/ 394 h 418"/>
                <a:gd name="T10" fmla="*/ 815 w 817"/>
                <a:gd name="T11" fmla="*/ 418 h 418"/>
                <a:gd name="T12" fmla="*/ 817 w 817"/>
                <a:gd name="T13" fmla="*/ 408 h 418"/>
                <a:gd name="T14" fmla="*/ 809 w 817"/>
                <a:gd name="T15" fmla="*/ 398 h 418"/>
                <a:gd name="T16" fmla="*/ 811 w 817"/>
                <a:gd name="T17" fmla="*/ 392 h 418"/>
                <a:gd name="T18" fmla="*/ 793 w 817"/>
                <a:gd name="T19" fmla="*/ 384 h 418"/>
                <a:gd name="T20" fmla="*/ 789 w 817"/>
                <a:gd name="T21" fmla="*/ 356 h 418"/>
                <a:gd name="T22" fmla="*/ 783 w 817"/>
                <a:gd name="T23" fmla="*/ 354 h 418"/>
                <a:gd name="T24" fmla="*/ 781 w 817"/>
                <a:gd name="T25" fmla="*/ 338 h 418"/>
                <a:gd name="T26" fmla="*/ 773 w 817"/>
                <a:gd name="T27" fmla="*/ 330 h 418"/>
                <a:gd name="T28" fmla="*/ 777 w 817"/>
                <a:gd name="T29" fmla="*/ 310 h 418"/>
                <a:gd name="T30" fmla="*/ 773 w 817"/>
                <a:gd name="T31" fmla="*/ 288 h 418"/>
                <a:gd name="T32" fmla="*/ 775 w 817"/>
                <a:gd name="T33" fmla="*/ 272 h 418"/>
                <a:gd name="T34" fmla="*/ 767 w 817"/>
                <a:gd name="T35" fmla="*/ 268 h 418"/>
                <a:gd name="T36" fmla="*/ 773 w 817"/>
                <a:gd name="T37" fmla="*/ 256 h 418"/>
                <a:gd name="T38" fmla="*/ 765 w 817"/>
                <a:gd name="T39" fmla="*/ 252 h 418"/>
                <a:gd name="T40" fmla="*/ 769 w 817"/>
                <a:gd name="T41" fmla="*/ 236 h 418"/>
                <a:gd name="T42" fmla="*/ 761 w 817"/>
                <a:gd name="T43" fmla="*/ 234 h 418"/>
                <a:gd name="T44" fmla="*/ 761 w 817"/>
                <a:gd name="T45" fmla="*/ 224 h 418"/>
                <a:gd name="T46" fmla="*/ 753 w 817"/>
                <a:gd name="T47" fmla="*/ 226 h 418"/>
                <a:gd name="T48" fmla="*/ 751 w 817"/>
                <a:gd name="T49" fmla="*/ 208 h 418"/>
                <a:gd name="T50" fmla="*/ 755 w 817"/>
                <a:gd name="T51" fmla="*/ 194 h 418"/>
                <a:gd name="T52" fmla="*/ 747 w 817"/>
                <a:gd name="T53" fmla="*/ 180 h 418"/>
                <a:gd name="T54" fmla="*/ 749 w 817"/>
                <a:gd name="T55" fmla="*/ 170 h 418"/>
                <a:gd name="T56" fmla="*/ 739 w 817"/>
                <a:gd name="T57" fmla="*/ 162 h 418"/>
                <a:gd name="T58" fmla="*/ 737 w 817"/>
                <a:gd name="T59" fmla="*/ 154 h 418"/>
                <a:gd name="T60" fmla="*/ 731 w 817"/>
                <a:gd name="T61" fmla="*/ 144 h 418"/>
                <a:gd name="T62" fmla="*/ 731 w 817"/>
                <a:gd name="T63" fmla="*/ 132 h 418"/>
                <a:gd name="T64" fmla="*/ 725 w 817"/>
                <a:gd name="T65" fmla="*/ 120 h 418"/>
                <a:gd name="T66" fmla="*/ 725 w 817"/>
                <a:gd name="T67" fmla="*/ 104 h 418"/>
                <a:gd name="T68" fmla="*/ 706 w 817"/>
                <a:gd name="T69" fmla="*/ 100 h 418"/>
                <a:gd name="T70" fmla="*/ 698 w 817"/>
                <a:gd name="T71" fmla="*/ 80 h 418"/>
                <a:gd name="T72" fmla="*/ 660 w 817"/>
                <a:gd name="T73" fmla="*/ 66 h 418"/>
                <a:gd name="T74" fmla="*/ 648 w 817"/>
                <a:gd name="T75" fmla="*/ 54 h 418"/>
                <a:gd name="T76" fmla="*/ 592 w 817"/>
                <a:gd name="T77" fmla="*/ 54 h 418"/>
                <a:gd name="T78" fmla="*/ 586 w 817"/>
                <a:gd name="T79" fmla="*/ 64 h 418"/>
                <a:gd name="T80" fmla="*/ 578 w 817"/>
                <a:gd name="T81" fmla="*/ 64 h 418"/>
                <a:gd name="T82" fmla="*/ 544 w 817"/>
                <a:gd name="T83" fmla="*/ 46 h 418"/>
                <a:gd name="T84" fmla="*/ 534 w 817"/>
                <a:gd name="T85" fmla="*/ 34 h 418"/>
                <a:gd name="T86" fmla="*/ 534 w 817"/>
                <a:gd name="T87" fmla="*/ 34 h 418"/>
                <a:gd name="T88" fmla="*/ 500 w 817"/>
                <a:gd name="T89" fmla="*/ 3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17" h="418">
                  <a:moveTo>
                    <a:pt x="500" y="32"/>
                  </a:moveTo>
                  <a:lnTo>
                    <a:pt x="24" y="0"/>
                  </a:lnTo>
                  <a:lnTo>
                    <a:pt x="0" y="254"/>
                  </a:lnTo>
                  <a:lnTo>
                    <a:pt x="190" y="270"/>
                  </a:lnTo>
                  <a:lnTo>
                    <a:pt x="180" y="394"/>
                  </a:lnTo>
                  <a:lnTo>
                    <a:pt x="815" y="418"/>
                  </a:lnTo>
                  <a:lnTo>
                    <a:pt x="817" y="408"/>
                  </a:lnTo>
                  <a:lnTo>
                    <a:pt x="809" y="398"/>
                  </a:lnTo>
                  <a:lnTo>
                    <a:pt x="811" y="392"/>
                  </a:lnTo>
                  <a:lnTo>
                    <a:pt x="793" y="384"/>
                  </a:lnTo>
                  <a:lnTo>
                    <a:pt x="789" y="356"/>
                  </a:lnTo>
                  <a:lnTo>
                    <a:pt x="783" y="354"/>
                  </a:lnTo>
                  <a:lnTo>
                    <a:pt x="781" y="338"/>
                  </a:lnTo>
                  <a:lnTo>
                    <a:pt x="773" y="330"/>
                  </a:lnTo>
                  <a:lnTo>
                    <a:pt x="777" y="310"/>
                  </a:lnTo>
                  <a:lnTo>
                    <a:pt x="773" y="288"/>
                  </a:lnTo>
                  <a:lnTo>
                    <a:pt x="775" y="272"/>
                  </a:lnTo>
                  <a:lnTo>
                    <a:pt x="767" y="268"/>
                  </a:lnTo>
                  <a:lnTo>
                    <a:pt x="773" y="256"/>
                  </a:lnTo>
                  <a:lnTo>
                    <a:pt x="765" y="252"/>
                  </a:lnTo>
                  <a:lnTo>
                    <a:pt x="769" y="236"/>
                  </a:lnTo>
                  <a:lnTo>
                    <a:pt x="761" y="234"/>
                  </a:lnTo>
                  <a:lnTo>
                    <a:pt x="761" y="224"/>
                  </a:lnTo>
                  <a:lnTo>
                    <a:pt x="753" y="226"/>
                  </a:lnTo>
                  <a:lnTo>
                    <a:pt x="751" y="208"/>
                  </a:lnTo>
                  <a:lnTo>
                    <a:pt x="755" y="194"/>
                  </a:lnTo>
                  <a:lnTo>
                    <a:pt x="747" y="180"/>
                  </a:lnTo>
                  <a:lnTo>
                    <a:pt x="749" y="170"/>
                  </a:lnTo>
                  <a:lnTo>
                    <a:pt x="739" y="162"/>
                  </a:lnTo>
                  <a:lnTo>
                    <a:pt x="737" y="154"/>
                  </a:lnTo>
                  <a:lnTo>
                    <a:pt x="731" y="144"/>
                  </a:lnTo>
                  <a:lnTo>
                    <a:pt x="731" y="132"/>
                  </a:lnTo>
                  <a:lnTo>
                    <a:pt x="725" y="120"/>
                  </a:lnTo>
                  <a:lnTo>
                    <a:pt x="725" y="104"/>
                  </a:lnTo>
                  <a:lnTo>
                    <a:pt x="706" y="100"/>
                  </a:lnTo>
                  <a:lnTo>
                    <a:pt x="698" y="80"/>
                  </a:lnTo>
                  <a:lnTo>
                    <a:pt x="660" y="66"/>
                  </a:lnTo>
                  <a:lnTo>
                    <a:pt x="648" y="54"/>
                  </a:lnTo>
                  <a:lnTo>
                    <a:pt x="592" y="54"/>
                  </a:lnTo>
                  <a:lnTo>
                    <a:pt x="586" y="64"/>
                  </a:lnTo>
                  <a:lnTo>
                    <a:pt x="578" y="64"/>
                  </a:lnTo>
                  <a:lnTo>
                    <a:pt x="544" y="46"/>
                  </a:lnTo>
                  <a:lnTo>
                    <a:pt x="534" y="34"/>
                  </a:lnTo>
                  <a:lnTo>
                    <a:pt x="534" y="34"/>
                  </a:lnTo>
                  <a:lnTo>
                    <a:pt x="500" y="32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" name="Freeform 239"/>
            <p:cNvSpPr>
              <a:spLocks/>
            </p:cNvSpPr>
            <p:nvPr/>
          </p:nvSpPr>
          <p:spPr bwMode="auto">
            <a:xfrm>
              <a:off x="7159230" y="1450797"/>
              <a:ext cx="192881" cy="407194"/>
            </a:xfrm>
            <a:custGeom>
              <a:avLst/>
              <a:gdLst>
                <a:gd name="T0" fmla="*/ 162 w 162"/>
                <a:gd name="T1" fmla="*/ 260 h 342"/>
                <a:gd name="T2" fmla="*/ 152 w 162"/>
                <a:gd name="T3" fmla="*/ 252 h 342"/>
                <a:gd name="T4" fmla="*/ 150 w 162"/>
                <a:gd name="T5" fmla="*/ 242 h 342"/>
                <a:gd name="T6" fmla="*/ 130 w 162"/>
                <a:gd name="T7" fmla="*/ 226 h 342"/>
                <a:gd name="T8" fmla="*/ 98 w 162"/>
                <a:gd name="T9" fmla="*/ 112 h 342"/>
                <a:gd name="T10" fmla="*/ 62 w 162"/>
                <a:gd name="T11" fmla="*/ 0 h 342"/>
                <a:gd name="T12" fmla="*/ 58 w 162"/>
                <a:gd name="T13" fmla="*/ 4 h 342"/>
                <a:gd name="T14" fmla="*/ 40 w 162"/>
                <a:gd name="T15" fmla="*/ 10 h 342"/>
                <a:gd name="T16" fmla="*/ 36 w 162"/>
                <a:gd name="T17" fmla="*/ 18 h 342"/>
                <a:gd name="T18" fmla="*/ 32 w 162"/>
                <a:gd name="T19" fmla="*/ 46 h 342"/>
                <a:gd name="T20" fmla="*/ 36 w 162"/>
                <a:gd name="T21" fmla="*/ 54 h 342"/>
                <a:gd name="T22" fmla="*/ 30 w 162"/>
                <a:gd name="T23" fmla="*/ 74 h 342"/>
                <a:gd name="T24" fmla="*/ 42 w 162"/>
                <a:gd name="T25" fmla="*/ 92 h 342"/>
                <a:gd name="T26" fmla="*/ 42 w 162"/>
                <a:gd name="T27" fmla="*/ 102 h 342"/>
                <a:gd name="T28" fmla="*/ 24 w 162"/>
                <a:gd name="T29" fmla="*/ 130 h 342"/>
                <a:gd name="T30" fmla="*/ 10 w 162"/>
                <a:gd name="T31" fmla="*/ 138 h 342"/>
                <a:gd name="T32" fmla="*/ 14 w 162"/>
                <a:gd name="T33" fmla="*/ 182 h 342"/>
                <a:gd name="T34" fmla="*/ 0 w 162"/>
                <a:gd name="T35" fmla="*/ 240 h 342"/>
                <a:gd name="T36" fmla="*/ 10 w 162"/>
                <a:gd name="T37" fmla="*/ 308 h 342"/>
                <a:gd name="T38" fmla="*/ 6 w 162"/>
                <a:gd name="T39" fmla="*/ 328 h 342"/>
                <a:gd name="T40" fmla="*/ 18 w 162"/>
                <a:gd name="T41" fmla="*/ 342 h 342"/>
                <a:gd name="T42" fmla="*/ 124 w 162"/>
                <a:gd name="T43" fmla="*/ 316 h 342"/>
                <a:gd name="T44" fmla="*/ 152 w 162"/>
                <a:gd name="T45" fmla="*/ 288 h 342"/>
                <a:gd name="T46" fmla="*/ 162 w 162"/>
                <a:gd name="T47" fmla="*/ 286 h 342"/>
                <a:gd name="T48" fmla="*/ 162 w 162"/>
                <a:gd name="T49" fmla="*/ 26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2" h="342">
                  <a:moveTo>
                    <a:pt x="162" y="260"/>
                  </a:moveTo>
                  <a:lnTo>
                    <a:pt x="152" y="252"/>
                  </a:lnTo>
                  <a:lnTo>
                    <a:pt x="150" y="242"/>
                  </a:lnTo>
                  <a:lnTo>
                    <a:pt x="130" y="226"/>
                  </a:lnTo>
                  <a:lnTo>
                    <a:pt x="98" y="112"/>
                  </a:lnTo>
                  <a:lnTo>
                    <a:pt x="62" y="0"/>
                  </a:lnTo>
                  <a:lnTo>
                    <a:pt x="58" y="4"/>
                  </a:lnTo>
                  <a:lnTo>
                    <a:pt x="40" y="10"/>
                  </a:lnTo>
                  <a:lnTo>
                    <a:pt x="36" y="18"/>
                  </a:lnTo>
                  <a:lnTo>
                    <a:pt x="32" y="46"/>
                  </a:lnTo>
                  <a:lnTo>
                    <a:pt x="36" y="54"/>
                  </a:lnTo>
                  <a:lnTo>
                    <a:pt x="30" y="74"/>
                  </a:lnTo>
                  <a:lnTo>
                    <a:pt x="42" y="92"/>
                  </a:lnTo>
                  <a:lnTo>
                    <a:pt x="42" y="102"/>
                  </a:lnTo>
                  <a:lnTo>
                    <a:pt x="24" y="130"/>
                  </a:lnTo>
                  <a:lnTo>
                    <a:pt x="10" y="138"/>
                  </a:lnTo>
                  <a:lnTo>
                    <a:pt x="14" y="182"/>
                  </a:lnTo>
                  <a:lnTo>
                    <a:pt x="0" y="240"/>
                  </a:lnTo>
                  <a:lnTo>
                    <a:pt x="10" y="308"/>
                  </a:lnTo>
                  <a:lnTo>
                    <a:pt x="6" y="328"/>
                  </a:lnTo>
                  <a:lnTo>
                    <a:pt x="18" y="342"/>
                  </a:lnTo>
                  <a:lnTo>
                    <a:pt x="124" y="316"/>
                  </a:lnTo>
                  <a:lnTo>
                    <a:pt x="152" y="288"/>
                  </a:lnTo>
                  <a:lnTo>
                    <a:pt x="162" y="286"/>
                  </a:lnTo>
                  <a:lnTo>
                    <a:pt x="162" y="26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" name="Freeform 240"/>
            <p:cNvSpPr>
              <a:spLocks/>
            </p:cNvSpPr>
            <p:nvPr/>
          </p:nvSpPr>
          <p:spPr bwMode="auto">
            <a:xfrm>
              <a:off x="3752850" y="2978370"/>
              <a:ext cx="1027510" cy="550069"/>
            </a:xfrm>
            <a:custGeom>
              <a:avLst/>
              <a:gdLst>
                <a:gd name="T0" fmla="*/ 56 w 863"/>
                <a:gd name="T1" fmla="*/ 70 h 462"/>
                <a:gd name="T2" fmla="*/ 302 w 863"/>
                <a:gd name="T3" fmla="*/ 86 h 462"/>
                <a:gd name="T4" fmla="*/ 290 w 863"/>
                <a:gd name="T5" fmla="*/ 332 h 462"/>
                <a:gd name="T6" fmla="*/ 302 w 863"/>
                <a:gd name="T7" fmla="*/ 332 h 462"/>
                <a:gd name="T8" fmla="*/ 326 w 863"/>
                <a:gd name="T9" fmla="*/ 356 h 462"/>
                <a:gd name="T10" fmla="*/ 336 w 863"/>
                <a:gd name="T11" fmla="*/ 354 h 462"/>
                <a:gd name="T12" fmla="*/ 350 w 863"/>
                <a:gd name="T13" fmla="*/ 358 h 462"/>
                <a:gd name="T14" fmla="*/ 356 w 863"/>
                <a:gd name="T15" fmla="*/ 348 h 462"/>
                <a:gd name="T16" fmla="*/ 372 w 863"/>
                <a:gd name="T17" fmla="*/ 364 h 462"/>
                <a:gd name="T18" fmla="*/ 374 w 863"/>
                <a:gd name="T19" fmla="*/ 380 h 462"/>
                <a:gd name="T20" fmla="*/ 394 w 863"/>
                <a:gd name="T21" fmla="*/ 380 h 462"/>
                <a:gd name="T22" fmla="*/ 418 w 863"/>
                <a:gd name="T23" fmla="*/ 392 h 462"/>
                <a:gd name="T24" fmla="*/ 434 w 863"/>
                <a:gd name="T25" fmla="*/ 390 h 462"/>
                <a:gd name="T26" fmla="*/ 448 w 863"/>
                <a:gd name="T27" fmla="*/ 402 h 462"/>
                <a:gd name="T28" fmla="*/ 458 w 863"/>
                <a:gd name="T29" fmla="*/ 392 h 462"/>
                <a:gd name="T30" fmla="*/ 486 w 863"/>
                <a:gd name="T31" fmla="*/ 394 h 462"/>
                <a:gd name="T32" fmla="*/ 486 w 863"/>
                <a:gd name="T33" fmla="*/ 408 h 462"/>
                <a:gd name="T34" fmla="*/ 500 w 863"/>
                <a:gd name="T35" fmla="*/ 414 h 462"/>
                <a:gd name="T36" fmla="*/ 498 w 863"/>
                <a:gd name="T37" fmla="*/ 426 h 462"/>
                <a:gd name="T38" fmla="*/ 508 w 863"/>
                <a:gd name="T39" fmla="*/ 430 h 462"/>
                <a:gd name="T40" fmla="*/ 532 w 863"/>
                <a:gd name="T41" fmla="*/ 414 h 462"/>
                <a:gd name="T42" fmla="*/ 538 w 863"/>
                <a:gd name="T43" fmla="*/ 418 h 462"/>
                <a:gd name="T44" fmla="*/ 538 w 863"/>
                <a:gd name="T45" fmla="*/ 426 h 462"/>
                <a:gd name="T46" fmla="*/ 550 w 863"/>
                <a:gd name="T47" fmla="*/ 426 h 462"/>
                <a:gd name="T48" fmla="*/ 554 w 863"/>
                <a:gd name="T49" fmla="*/ 436 h 462"/>
                <a:gd name="T50" fmla="*/ 578 w 863"/>
                <a:gd name="T51" fmla="*/ 428 h 462"/>
                <a:gd name="T52" fmla="*/ 578 w 863"/>
                <a:gd name="T53" fmla="*/ 440 h 462"/>
                <a:gd name="T54" fmla="*/ 586 w 863"/>
                <a:gd name="T55" fmla="*/ 450 h 462"/>
                <a:gd name="T56" fmla="*/ 594 w 863"/>
                <a:gd name="T57" fmla="*/ 438 h 462"/>
                <a:gd name="T58" fmla="*/ 592 w 863"/>
                <a:gd name="T59" fmla="*/ 434 h 462"/>
                <a:gd name="T60" fmla="*/ 622 w 863"/>
                <a:gd name="T61" fmla="*/ 424 h 462"/>
                <a:gd name="T62" fmla="*/ 632 w 863"/>
                <a:gd name="T63" fmla="*/ 434 h 462"/>
                <a:gd name="T64" fmla="*/ 662 w 863"/>
                <a:gd name="T65" fmla="*/ 444 h 462"/>
                <a:gd name="T66" fmla="*/ 670 w 863"/>
                <a:gd name="T67" fmla="*/ 454 h 462"/>
                <a:gd name="T68" fmla="*/ 674 w 863"/>
                <a:gd name="T69" fmla="*/ 446 h 462"/>
                <a:gd name="T70" fmla="*/ 681 w 863"/>
                <a:gd name="T71" fmla="*/ 446 h 462"/>
                <a:gd name="T72" fmla="*/ 687 w 863"/>
                <a:gd name="T73" fmla="*/ 438 h 462"/>
                <a:gd name="T74" fmla="*/ 709 w 863"/>
                <a:gd name="T75" fmla="*/ 430 h 462"/>
                <a:gd name="T76" fmla="*/ 727 w 863"/>
                <a:gd name="T77" fmla="*/ 436 h 462"/>
                <a:gd name="T78" fmla="*/ 727 w 863"/>
                <a:gd name="T79" fmla="*/ 430 h 462"/>
                <a:gd name="T80" fmla="*/ 745 w 863"/>
                <a:gd name="T81" fmla="*/ 424 h 462"/>
                <a:gd name="T82" fmla="*/ 751 w 863"/>
                <a:gd name="T83" fmla="*/ 432 h 462"/>
                <a:gd name="T84" fmla="*/ 773 w 863"/>
                <a:gd name="T85" fmla="*/ 434 h 462"/>
                <a:gd name="T86" fmla="*/ 785 w 863"/>
                <a:gd name="T87" fmla="*/ 422 h 462"/>
                <a:gd name="T88" fmla="*/ 811 w 863"/>
                <a:gd name="T89" fmla="*/ 434 h 462"/>
                <a:gd name="T90" fmla="*/ 821 w 863"/>
                <a:gd name="T91" fmla="*/ 448 h 462"/>
                <a:gd name="T92" fmla="*/ 863 w 863"/>
                <a:gd name="T93" fmla="*/ 462 h 462"/>
                <a:gd name="T94" fmla="*/ 847 w 863"/>
                <a:gd name="T95" fmla="*/ 34 h 462"/>
                <a:gd name="T96" fmla="*/ 104 w 863"/>
                <a:gd name="T97" fmla="*/ 8 h 462"/>
                <a:gd name="T98" fmla="*/ 6 w 863"/>
                <a:gd name="T99" fmla="*/ 0 h 462"/>
                <a:gd name="T100" fmla="*/ 0 w 863"/>
                <a:gd name="T101" fmla="*/ 64 h 462"/>
                <a:gd name="T102" fmla="*/ 56 w 863"/>
                <a:gd name="T103" fmla="*/ 70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63" h="462">
                  <a:moveTo>
                    <a:pt x="56" y="70"/>
                  </a:moveTo>
                  <a:lnTo>
                    <a:pt x="302" y="86"/>
                  </a:lnTo>
                  <a:lnTo>
                    <a:pt x="290" y="332"/>
                  </a:lnTo>
                  <a:lnTo>
                    <a:pt x="302" y="332"/>
                  </a:lnTo>
                  <a:lnTo>
                    <a:pt x="326" y="356"/>
                  </a:lnTo>
                  <a:lnTo>
                    <a:pt x="336" y="354"/>
                  </a:lnTo>
                  <a:lnTo>
                    <a:pt x="350" y="358"/>
                  </a:lnTo>
                  <a:lnTo>
                    <a:pt x="356" y="348"/>
                  </a:lnTo>
                  <a:lnTo>
                    <a:pt x="372" y="364"/>
                  </a:lnTo>
                  <a:lnTo>
                    <a:pt x="374" y="380"/>
                  </a:lnTo>
                  <a:lnTo>
                    <a:pt x="394" y="380"/>
                  </a:lnTo>
                  <a:lnTo>
                    <a:pt x="418" y="392"/>
                  </a:lnTo>
                  <a:lnTo>
                    <a:pt x="434" y="390"/>
                  </a:lnTo>
                  <a:lnTo>
                    <a:pt x="448" y="402"/>
                  </a:lnTo>
                  <a:lnTo>
                    <a:pt x="458" y="392"/>
                  </a:lnTo>
                  <a:lnTo>
                    <a:pt x="486" y="394"/>
                  </a:lnTo>
                  <a:lnTo>
                    <a:pt x="486" y="408"/>
                  </a:lnTo>
                  <a:lnTo>
                    <a:pt x="500" y="414"/>
                  </a:lnTo>
                  <a:lnTo>
                    <a:pt x="498" y="426"/>
                  </a:lnTo>
                  <a:lnTo>
                    <a:pt x="508" y="430"/>
                  </a:lnTo>
                  <a:lnTo>
                    <a:pt x="532" y="414"/>
                  </a:lnTo>
                  <a:lnTo>
                    <a:pt x="538" y="418"/>
                  </a:lnTo>
                  <a:lnTo>
                    <a:pt x="538" y="426"/>
                  </a:lnTo>
                  <a:lnTo>
                    <a:pt x="550" y="426"/>
                  </a:lnTo>
                  <a:lnTo>
                    <a:pt x="554" y="436"/>
                  </a:lnTo>
                  <a:lnTo>
                    <a:pt x="578" y="428"/>
                  </a:lnTo>
                  <a:lnTo>
                    <a:pt x="578" y="440"/>
                  </a:lnTo>
                  <a:lnTo>
                    <a:pt x="586" y="450"/>
                  </a:lnTo>
                  <a:lnTo>
                    <a:pt x="594" y="438"/>
                  </a:lnTo>
                  <a:lnTo>
                    <a:pt x="592" y="434"/>
                  </a:lnTo>
                  <a:lnTo>
                    <a:pt x="622" y="424"/>
                  </a:lnTo>
                  <a:lnTo>
                    <a:pt x="632" y="434"/>
                  </a:lnTo>
                  <a:lnTo>
                    <a:pt x="662" y="444"/>
                  </a:lnTo>
                  <a:lnTo>
                    <a:pt x="670" y="454"/>
                  </a:lnTo>
                  <a:lnTo>
                    <a:pt x="674" y="446"/>
                  </a:lnTo>
                  <a:lnTo>
                    <a:pt x="681" y="446"/>
                  </a:lnTo>
                  <a:lnTo>
                    <a:pt x="687" y="438"/>
                  </a:lnTo>
                  <a:lnTo>
                    <a:pt x="709" y="430"/>
                  </a:lnTo>
                  <a:lnTo>
                    <a:pt x="727" y="436"/>
                  </a:lnTo>
                  <a:lnTo>
                    <a:pt x="727" y="430"/>
                  </a:lnTo>
                  <a:lnTo>
                    <a:pt x="745" y="424"/>
                  </a:lnTo>
                  <a:lnTo>
                    <a:pt x="751" y="432"/>
                  </a:lnTo>
                  <a:lnTo>
                    <a:pt x="773" y="434"/>
                  </a:lnTo>
                  <a:lnTo>
                    <a:pt x="785" y="422"/>
                  </a:lnTo>
                  <a:lnTo>
                    <a:pt x="811" y="434"/>
                  </a:lnTo>
                  <a:lnTo>
                    <a:pt x="821" y="448"/>
                  </a:lnTo>
                  <a:lnTo>
                    <a:pt x="863" y="462"/>
                  </a:lnTo>
                  <a:lnTo>
                    <a:pt x="847" y="34"/>
                  </a:lnTo>
                  <a:lnTo>
                    <a:pt x="104" y="8"/>
                  </a:lnTo>
                  <a:lnTo>
                    <a:pt x="6" y="0"/>
                  </a:lnTo>
                  <a:lnTo>
                    <a:pt x="0" y="64"/>
                  </a:lnTo>
                  <a:lnTo>
                    <a:pt x="56" y="7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" name="Freeform 241"/>
            <p:cNvSpPr>
              <a:spLocks/>
            </p:cNvSpPr>
            <p:nvPr/>
          </p:nvSpPr>
          <p:spPr bwMode="auto">
            <a:xfrm>
              <a:off x="6401992" y="1550810"/>
              <a:ext cx="721519" cy="645319"/>
            </a:xfrm>
            <a:custGeom>
              <a:avLst/>
              <a:gdLst>
                <a:gd name="T0" fmla="*/ 590 w 606"/>
                <a:gd name="T1" fmla="*/ 516 h 542"/>
                <a:gd name="T2" fmla="*/ 586 w 606"/>
                <a:gd name="T3" fmla="*/ 486 h 542"/>
                <a:gd name="T4" fmla="*/ 596 w 606"/>
                <a:gd name="T5" fmla="*/ 458 h 542"/>
                <a:gd name="T6" fmla="*/ 580 w 606"/>
                <a:gd name="T7" fmla="*/ 366 h 542"/>
                <a:gd name="T8" fmla="*/ 578 w 606"/>
                <a:gd name="T9" fmla="*/ 264 h 542"/>
                <a:gd name="T10" fmla="*/ 552 w 606"/>
                <a:gd name="T11" fmla="*/ 166 h 542"/>
                <a:gd name="T12" fmla="*/ 542 w 606"/>
                <a:gd name="T13" fmla="*/ 166 h 542"/>
                <a:gd name="T14" fmla="*/ 528 w 606"/>
                <a:gd name="T15" fmla="*/ 116 h 542"/>
                <a:gd name="T16" fmla="*/ 534 w 606"/>
                <a:gd name="T17" fmla="*/ 88 h 542"/>
                <a:gd name="T18" fmla="*/ 530 w 606"/>
                <a:gd name="T19" fmla="*/ 64 h 542"/>
                <a:gd name="T20" fmla="*/ 516 w 606"/>
                <a:gd name="T21" fmla="*/ 24 h 542"/>
                <a:gd name="T22" fmla="*/ 514 w 606"/>
                <a:gd name="T23" fmla="*/ 8 h 542"/>
                <a:gd name="T24" fmla="*/ 366 w 606"/>
                <a:gd name="T25" fmla="*/ 32 h 542"/>
                <a:gd name="T26" fmla="*/ 308 w 606"/>
                <a:gd name="T27" fmla="*/ 126 h 542"/>
                <a:gd name="T28" fmla="*/ 274 w 606"/>
                <a:gd name="T29" fmla="*/ 162 h 542"/>
                <a:gd name="T30" fmla="*/ 290 w 606"/>
                <a:gd name="T31" fmla="*/ 168 h 542"/>
                <a:gd name="T32" fmla="*/ 296 w 606"/>
                <a:gd name="T33" fmla="*/ 180 h 542"/>
                <a:gd name="T34" fmla="*/ 284 w 606"/>
                <a:gd name="T35" fmla="*/ 186 h 542"/>
                <a:gd name="T36" fmla="*/ 286 w 606"/>
                <a:gd name="T37" fmla="*/ 196 h 542"/>
                <a:gd name="T38" fmla="*/ 302 w 606"/>
                <a:gd name="T39" fmla="*/ 218 h 542"/>
                <a:gd name="T40" fmla="*/ 274 w 606"/>
                <a:gd name="T41" fmla="*/ 240 h 542"/>
                <a:gd name="T42" fmla="*/ 238 w 606"/>
                <a:gd name="T43" fmla="*/ 274 h 542"/>
                <a:gd name="T44" fmla="*/ 198 w 606"/>
                <a:gd name="T45" fmla="*/ 282 h 542"/>
                <a:gd name="T46" fmla="*/ 166 w 606"/>
                <a:gd name="T47" fmla="*/ 282 h 542"/>
                <a:gd name="T48" fmla="*/ 50 w 606"/>
                <a:gd name="T49" fmla="*/ 316 h 542"/>
                <a:gd name="T50" fmla="*/ 56 w 606"/>
                <a:gd name="T51" fmla="*/ 388 h 542"/>
                <a:gd name="T52" fmla="*/ 46 w 606"/>
                <a:gd name="T53" fmla="*/ 404 h 542"/>
                <a:gd name="T54" fmla="*/ 0 w 606"/>
                <a:gd name="T55" fmla="*/ 450 h 542"/>
                <a:gd name="T56" fmla="*/ 408 w 606"/>
                <a:gd name="T57" fmla="*/ 408 h 542"/>
                <a:gd name="T58" fmla="*/ 424 w 606"/>
                <a:gd name="T59" fmla="*/ 422 h 542"/>
                <a:gd name="T60" fmla="*/ 440 w 606"/>
                <a:gd name="T61" fmla="*/ 428 h 542"/>
                <a:gd name="T62" fmla="*/ 448 w 606"/>
                <a:gd name="T63" fmla="*/ 450 h 542"/>
                <a:gd name="T64" fmla="*/ 484 w 606"/>
                <a:gd name="T65" fmla="*/ 468 h 542"/>
                <a:gd name="T66" fmla="*/ 574 w 606"/>
                <a:gd name="T67" fmla="*/ 504 h 542"/>
                <a:gd name="T68" fmla="*/ 580 w 606"/>
                <a:gd name="T69" fmla="*/ 518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6" h="542">
                  <a:moveTo>
                    <a:pt x="580" y="518"/>
                  </a:moveTo>
                  <a:lnTo>
                    <a:pt x="590" y="516"/>
                  </a:lnTo>
                  <a:lnTo>
                    <a:pt x="596" y="496"/>
                  </a:lnTo>
                  <a:lnTo>
                    <a:pt x="586" y="486"/>
                  </a:lnTo>
                  <a:lnTo>
                    <a:pt x="606" y="468"/>
                  </a:lnTo>
                  <a:lnTo>
                    <a:pt x="596" y="458"/>
                  </a:lnTo>
                  <a:lnTo>
                    <a:pt x="582" y="366"/>
                  </a:lnTo>
                  <a:lnTo>
                    <a:pt x="580" y="366"/>
                  </a:lnTo>
                  <a:lnTo>
                    <a:pt x="582" y="274"/>
                  </a:lnTo>
                  <a:lnTo>
                    <a:pt x="578" y="264"/>
                  </a:lnTo>
                  <a:lnTo>
                    <a:pt x="560" y="174"/>
                  </a:lnTo>
                  <a:lnTo>
                    <a:pt x="552" y="166"/>
                  </a:lnTo>
                  <a:lnTo>
                    <a:pt x="544" y="174"/>
                  </a:lnTo>
                  <a:lnTo>
                    <a:pt x="542" y="166"/>
                  </a:lnTo>
                  <a:lnTo>
                    <a:pt x="544" y="152"/>
                  </a:lnTo>
                  <a:lnTo>
                    <a:pt x="528" y="116"/>
                  </a:lnTo>
                  <a:lnTo>
                    <a:pt x="530" y="96"/>
                  </a:lnTo>
                  <a:lnTo>
                    <a:pt x="534" y="88"/>
                  </a:lnTo>
                  <a:lnTo>
                    <a:pt x="528" y="74"/>
                  </a:lnTo>
                  <a:lnTo>
                    <a:pt x="530" y="64"/>
                  </a:lnTo>
                  <a:lnTo>
                    <a:pt x="518" y="44"/>
                  </a:lnTo>
                  <a:lnTo>
                    <a:pt x="516" y="24"/>
                  </a:lnTo>
                  <a:lnTo>
                    <a:pt x="512" y="16"/>
                  </a:lnTo>
                  <a:lnTo>
                    <a:pt x="514" y="8"/>
                  </a:lnTo>
                  <a:lnTo>
                    <a:pt x="510" y="0"/>
                  </a:lnTo>
                  <a:lnTo>
                    <a:pt x="366" y="32"/>
                  </a:lnTo>
                  <a:lnTo>
                    <a:pt x="318" y="84"/>
                  </a:lnTo>
                  <a:lnTo>
                    <a:pt x="308" y="126"/>
                  </a:lnTo>
                  <a:lnTo>
                    <a:pt x="278" y="154"/>
                  </a:lnTo>
                  <a:lnTo>
                    <a:pt x="274" y="162"/>
                  </a:lnTo>
                  <a:lnTo>
                    <a:pt x="278" y="170"/>
                  </a:lnTo>
                  <a:lnTo>
                    <a:pt x="290" y="168"/>
                  </a:lnTo>
                  <a:lnTo>
                    <a:pt x="296" y="174"/>
                  </a:lnTo>
                  <a:lnTo>
                    <a:pt x="296" y="180"/>
                  </a:lnTo>
                  <a:lnTo>
                    <a:pt x="292" y="186"/>
                  </a:lnTo>
                  <a:lnTo>
                    <a:pt x="284" y="186"/>
                  </a:lnTo>
                  <a:lnTo>
                    <a:pt x="284" y="190"/>
                  </a:lnTo>
                  <a:lnTo>
                    <a:pt x="286" y="196"/>
                  </a:lnTo>
                  <a:lnTo>
                    <a:pt x="296" y="204"/>
                  </a:lnTo>
                  <a:lnTo>
                    <a:pt x="302" y="218"/>
                  </a:lnTo>
                  <a:lnTo>
                    <a:pt x="300" y="230"/>
                  </a:lnTo>
                  <a:lnTo>
                    <a:pt x="274" y="240"/>
                  </a:lnTo>
                  <a:lnTo>
                    <a:pt x="252" y="268"/>
                  </a:lnTo>
                  <a:lnTo>
                    <a:pt x="238" y="274"/>
                  </a:lnTo>
                  <a:lnTo>
                    <a:pt x="206" y="282"/>
                  </a:lnTo>
                  <a:lnTo>
                    <a:pt x="198" y="282"/>
                  </a:lnTo>
                  <a:lnTo>
                    <a:pt x="182" y="290"/>
                  </a:lnTo>
                  <a:lnTo>
                    <a:pt x="166" y="282"/>
                  </a:lnTo>
                  <a:lnTo>
                    <a:pt x="130" y="282"/>
                  </a:lnTo>
                  <a:lnTo>
                    <a:pt x="50" y="316"/>
                  </a:lnTo>
                  <a:lnTo>
                    <a:pt x="74" y="366"/>
                  </a:lnTo>
                  <a:lnTo>
                    <a:pt x="56" y="388"/>
                  </a:lnTo>
                  <a:lnTo>
                    <a:pt x="52" y="400"/>
                  </a:lnTo>
                  <a:lnTo>
                    <a:pt x="46" y="404"/>
                  </a:lnTo>
                  <a:lnTo>
                    <a:pt x="40" y="406"/>
                  </a:lnTo>
                  <a:lnTo>
                    <a:pt x="0" y="450"/>
                  </a:lnTo>
                  <a:lnTo>
                    <a:pt x="6" y="484"/>
                  </a:lnTo>
                  <a:lnTo>
                    <a:pt x="408" y="408"/>
                  </a:lnTo>
                  <a:lnTo>
                    <a:pt x="420" y="412"/>
                  </a:lnTo>
                  <a:lnTo>
                    <a:pt x="424" y="422"/>
                  </a:lnTo>
                  <a:lnTo>
                    <a:pt x="442" y="424"/>
                  </a:lnTo>
                  <a:lnTo>
                    <a:pt x="440" y="428"/>
                  </a:lnTo>
                  <a:lnTo>
                    <a:pt x="446" y="430"/>
                  </a:lnTo>
                  <a:lnTo>
                    <a:pt x="448" y="450"/>
                  </a:lnTo>
                  <a:lnTo>
                    <a:pt x="460" y="464"/>
                  </a:lnTo>
                  <a:lnTo>
                    <a:pt x="484" y="468"/>
                  </a:lnTo>
                  <a:lnTo>
                    <a:pt x="488" y="474"/>
                  </a:lnTo>
                  <a:lnTo>
                    <a:pt x="574" y="504"/>
                  </a:lnTo>
                  <a:lnTo>
                    <a:pt x="570" y="542"/>
                  </a:lnTo>
                  <a:lnTo>
                    <a:pt x="580" y="518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" name="Freeform 242"/>
            <p:cNvSpPr>
              <a:spLocks/>
            </p:cNvSpPr>
            <p:nvPr/>
          </p:nvSpPr>
          <p:spPr bwMode="auto">
            <a:xfrm>
              <a:off x="4491038" y="1150760"/>
              <a:ext cx="763191" cy="883444"/>
            </a:xfrm>
            <a:custGeom>
              <a:avLst/>
              <a:gdLst>
                <a:gd name="T0" fmla="*/ 641 w 641"/>
                <a:gd name="T1" fmla="*/ 166 h 742"/>
                <a:gd name="T2" fmla="*/ 633 w 641"/>
                <a:gd name="T3" fmla="*/ 166 h 742"/>
                <a:gd name="T4" fmla="*/ 577 w 641"/>
                <a:gd name="T5" fmla="*/ 158 h 742"/>
                <a:gd name="T6" fmla="*/ 571 w 641"/>
                <a:gd name="T7" fmla="*/ 158 h 742"/>
                <a:gd name="T8" fmla="*/ 543 w 641"/>
                <a:gd name="T9" fmla="*/ 150 h 742"/>
                <a:gd name="T10" fmla="*/ 509 w 641"/>
                <a:gd name="T11" fmla="*/ 162 h 742"/>
                <a:gd name="T12" fmla="*/ 499 w 641"/>
                <a:gd name="T13" fmla="*/ 164 h 742"/>
                <a:gd name="T14" fmla="*/ 479 w 641"/>
                <a:gd name="T15" fmla="*/ 154 h 742"/>
                <a:gd name="T16" fmla="*/ 447 w 641"/>
                <a:gd name="T17" fmla="*/ 136 h 742"/>
                <a:gd name="T18" fmla="*/ 415 w 641"/>
                <a:gd name="T19" fmla="*/ 118 h 742"/>
                <a:gd name="T20" fmla="*/ 375 w 641"/>
                <a:gd name="T21" fmla="*/ 96 h 742"/>
                <a:gd name="T22" fmla="*/ 323 w 641"/>
                <a:gd name="T23" fmla="*/ 100 h 742"/>
                <a:gd name="T24" fmla="*/ 307 w 641"/>
                <a:gd name="T25" fmla="*/ 102 h 742"/>
                <a:gd name="T26" fmla="*/ 295 w 641"/>
                <a:gd name="T27" fmla="*/ 98 h 742"/>
                <a:gd name="T28" fmla="*/ 291 w 641"/>
                <a:gd name="T29" fmla="*/ 94 h 742"/>
                <a:gd name="T30" fmla="*/ 255 w 641"/>
                <a:gd name="T31" fmla="*/ 84 h 742"/>
                <a:gd name="T32" fmla="*/ 243 w 641"/>
                <a:gd name="T33" fmla="*/ 86 h 742"/>
                <a:gd name="T34" fmla="*/ 241 w 641"/>
                <a:gd name="T35" fmla="*/ 84 h 742"/>
                <a:gd name="T36" fmla="*/ 227 w 641"/>
                <a:gd name="T37" fmla="*/ 86 h 742"/>
                <a:gd name="T38" fmla="*/ 213 w 641"/>
                <a:gd name="T39" fmla="*/ 52 h 742"/>
                <a:gd name="T40" fmla="*/ 193 w 641"/>
                <a:gd name="T41" fmla="*/ 2 h 742"/>
                <a:gd name="T42" fmla="*/ 175 w 641"/>
                <a:gd name="T43" fmla="*/ 54 h 742"/>
                <a:gd name="T44" fmla="*/ 10 w 641"/>
                <a:gd name="T45" fmla="*/ 90 h 742"/>
                <a:gd name="T46" fmla="*/ 6 w 641"/>
                <a:gd name="T47" fmla="*/ 154 h 742"/>
                <a:gd name="T48" fmla="*/ 32 w 641"/>
                <a:gd name="T49" fmla="*/ 308 h 742"/>
                <a:gd name="T50" fmla="*/ 30 w 641"/>
                <a:gd name="T51" fmla="*/ 344 h 742"/>
                <a:gd name="T52" fmla="*/ 48 w 641"/>
                <a:gd name="T53" fmla="*/ 386 h 742"/>
                <a:gd name="T54" fmla="*/ 48 w 641"/>
                <a:gd name="T55" fmla="*/ 446 h 742"/>
                <a:gd name="T56" fmla="*/ 26 w 641"/>
                <a:gd name="T57" fmla="*/ 470 h 742"/>
                <a:gd name="T58" fmla="*/ 38 w 641"/>
                <a:gd name="T59" fmla="*/ 500 h 742"/>
                <a:gd name="T60" fmla="*/ 57 w 641"/>
                <a:gd name="T61" fmla="*/ 514 h 742"/>
                <a:gd name="T62" fmla="*/ 535 w 641"/>
                <a:gd name="T63" fmla="*/ 736 h 742"/>
                <a:gd name="T64" fmla="*/ 521 w 641"/>
                <a:gd name="T65" fmla="*/ 684 h 742"/>
                <a:gd name="T66" fmla="*/ 471 w 641"/>
                <a:gd name="T67" fmla="*/ 640 h 742"/>
                <a:gd name="T68" fmla="*/ 437 w 641"/>
                <a:gd name="T69" fmla="*/ 612 h 742"/>
                <a:gd name="T70" fmla="*/ 413 w 641"/>
                <a:gd name="T71" fmla="*/ 600 h 742"/>
                <a:gd name="T72" fmla="*/ 385 w 641"/>
                <a:gd name="T73" fmla="*/ 582 h 742"/>
                <a:gd name="T74" fmla="*/ 385 w 641"/>
                <a:gd name="T75" fmla="*/ 542 h 742"/>
                <a:gd name="T76" fmla="*/ 387 w 641"/>
                <a:gd name="T77" fmla="*/ 514 h 742"/>
                <a:gd name="T78" fmla="*/ 387 w 641"/>
                <a:gd name="T79" fmla="*/ 480 h 742"/>
                <a:gd name="T80" fmla="*/ 375 w 641"/>
                <a:gd name="T81" fmla="*/ 462 h 742"/>
                <a:gd name="T82" fmla="*/ 391 w 641"/>
                <a:gd name="T83" fmla="*/ 436 h 742"/>
                <a:gd name="T84" fmla="*/ 427 w 641"/>
                <a:gd name="T85" fmla="*/ 412 h 742"/>
                <a:gd name="T86" fmla="*/ 431 w 641"/>
                <a:gd name="T87" fmla="*/ 340 h 742"/>
                <a:gd name="T88" fmla="*/ 443 w 641"/>
                <a:gd name="T89" fmla="*/ 336 h 742"/>
                <a:gd name="T90" fmla="*/ 607 w 641"/>
                <a:gd name="T91" fmla="*/ 200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41" h="742">
                  <a:moveTo>
                    <a:pt x="607" y="200"/>
                  </a:moveTo>
                  <a:lnTo>
                    <a:pt x="641" y="166"/>
                  </a:lnTo>
                  <a:lnTo>
                    <a:pt x="641" y="166"/>
                  </a:lnTo>
                  <a:lnTo>
                    <a:pt x="633" y="166"/>
                  </a:lnTo>
                  <a:lnTo>
                    <a:pt x="611" y="158"/>
                  </a:lnTo>
                  <a:lnTo>
                    <a:pt x="577" y="158"/>
                  </a:lnTo>
                  <a:lnTo>
                    <a:pt x="571" y="158"/>
                  </a:lnTo>
                  <a:lnTo>
                    <a:pt x="571" y="158"/>
                  </a:lnTo>
                  <a:lnTo>
                    <a:pt x="571" y="158"/>
                  </a:lnTo>
                  <a:lnTo>
                    <a:pt x="543" y="150"/>
                  </a:lnTo>
                  <a:lnTo>
                    <a:pt x="529" y="150"/>
                  </a:lnTo>
                  <a:lnTo>
                    <a:pt x="509" y="162"/>
                  </a:lnTo>
                  <a:lnTo>
                    <a:pt x="499" y="164"/>
                  </a:lnTo>
                  <a:lnTo>
                    <a:pt x="499" y="164"/>
                  </a:lnTo>
                  <a:lnTo>
                    <a:pt x="499" y="164"/>
                  </a:lnTo>
                  <a:lnTo>
                    <a:pt x="479" y="154"/>
                  </a:lnTo>
                  <a:lnTo>
                    <a:pt x="467" y="140"/>
                  </a:lnTo>
                  <a:lnTo>
                    <a:pt x="447" y="136"/>
                  </a:lnTo>
                  <a:lnTo>
                    <a:pt x="437" y="126"/>
                  </a:lnTo>
                  <a:lnTo>
                    <a:pt x="415" y="118"/>
                  </a:lnTo>
                  <a:lnTo>
                    <a:pt x="405" y="108"/>
                  </a:lnTo>
                  <a:lnTo>
                    <a:pt x="375" y="96"/>
                  </a:lnTo>
                  <a:lnTo>
                    <a:pt x="335" y="92"/>
                  </a:lnTo>
                  <a:lnTo>
                    <a:pt x="323" y="100"/>
                  </a:lnTo>
                  <a:lnTo>
                    <a:pt x="307" y="102"/>
                  </a:lnTo>
                  <a:lnTo>
                    <a:pt x="307" y="102"/>
                  </a:lnTo>
                  <a:lnTo>
                    <a:pt x="307" y="102"/>
                  </a:lnTo>
                  <a:lnTo>
                    <a:pt x="295" y="98"/>
                  </a:lnTo>
                  <a:lnTo>
                    <a:pt x="295" y="96"/>
                  </a:lnTo>
                  <a:lnTo>
                    <a:pt x="291" y="94"/>
                  </a:lnTo>
                  <a:lnTo>
                    <a:pt x="265" y="84"/>
                  </a:lnTo>
                  <a:lnTo>
                    <a:pt x="255" y="84"/>
                  </a:lnTo>
                  <a:lnTo>
                    <a:pt x="243" y="86"/>
                  </a:lnTo>
                  <a:lnTo>
                    <a:pt x="243" y="86"/>
                  </a:lnTo>
                  <a:lnTo>
                    <a:pt x="243" y="86"/>
                  </a:lnTo>
                  <a:lnTo>
                    <a:pt x="241" y="84"/>
                  </a:lnTo>
                  <a:lnTo>
                    <a:pt x="229" y="86"/>
                  </a:lnTo>
                  <a:lnTo>
                    <a:pt x="227" y="86"/>
                  </a:lnTo>
                  <a:lnTo>
                    <a:pt x="227" y="86"/>
                  </a:lnTo>
                  <a:lnTo>
                    <a:pt x="213" y="52"/>
                  </a:lnTo>
                  <a:lnTo>
                    <a:pt x="211" y="50"/>
                  </a:lnTo>
                  <a:lnTo>
                    <a:pt x="193" y="2"/>
                  </a:lnTo>
                  <a:lnTo>
                    <a:pt x="175" y="0"/>
                  </a:lnTo>
                  <a:lnTo>
                    <a:pt x="175" y="54"/>
                  </a:lnTo>
                  <a:lnTo>
                    <a:pt x="0" y="52"/>
                  </a:lnTo>
                  <a:lnTo>
                    <a:pt x="10" y="90"/>
                  </a:lnTo>
                  <a:lnTo>
                    <a:pt x="6" y="104"/>
                  </a:lnTo>
                  <a:lnTo>
                    <a:pt x="6" y="154"/>
                  </a:lnTo>
                  <a:lnTo>
                    <a:pt x="28" y="224"/>
                  </a:lnTo>
                  <a:lnTo>
                    <a:pt x="32" y="308"/>
                  </a:lnTo>
                  <a:lnTo>
                    <a:pt x="36" y="310"/>
                  </a:lnTo>
                  <a:lnTo>
                    <a:pt x="30" y="344"/>
                  </a:lnTo>
                  <a:lnTo>
                    <a:pt x="38" y="370"/>
                  </a:lnTo>
                  <a:lnTo>
                    <a:pt x="48" y="386"/>
                  </a:lnTo>
                  <a:lnTo>
                    <a:pt x="50" y="434"/>
                  </a:lnTo>
                  <a:lnTo>
                    <a:pt x="48" y="446"/>
                  </a:lnTo>
                  <a:lnTo>
                    <a:pt x="42" y="458"/>
                  </a:lnTo>
                  <a:lnTo>
                    <a:pt x="26" y="470"/>
                  </a:lnTo>
                  <a:lnTo>
                    <a:pt x="24" y="476"/>
                  </a:lnTo>
                  <a:lnTo>
                    <a:pt x="38" y="500"/>
                  </a:lnTo>
                  <a:lnTo>
                    <a:pt x="52" y="504"/>
                  </a:lnTo>
                  <a:lnTo>
                    <a:pt x="57" y="514"/>
                  </a:lnTo>
                  <a:lnTo>
                    <a:pt x="56" y="742"/>
                  </a:lnTo>
                  <a:lnTo>
                    <a:pt x="535" y="736"/>
                  </a:lnTo>
                  <a:lnTo>
                    <a:pt x="529" y="700"/>
                  </a:lnTo>
                  <a:lnTo>
                    <a:pt x="521" y="684"/>
                  </a:lnTo>
                  <a:lnTo>
                    <a:pt x="477" y="656"/>
                  </a:lnTo>
                  <a:lnTo>
                    <a:pt x="471" y="640"/>
                  </a:lnTo>
                  <a:lnTo>
                    <a:pt x="453" y="620"/>
                  </a:lnTo>
                  <a:lnTo>
                    <a:pt x="437" y="612"/>
                  </a:lnTo>
                  <a:lnTo>
                    <a:pt x="423" y="614"/>
                  </a:lnTo>
                  <a:lnTo>
                    <a:pt x="413" y="600"/>
                  </a:lnTo>
                  <a:lnTo>
                    <a:pt x="393" y="594"/>
                  </a:lnTo>
                  <a:lnTo>
                    <a:pt x="385" y="582"/>
                  </a:lnTo>
                  <a:lnTo>
                    <a:pt x="389" y="560"/>
                  </a:lnTo>
                  <a:lnTo>
                    <a:pt x="385" y="542"/>
                  </a:lnTo>
                  <a:lnTo>
                    <a:pt x="389" y="536"/>
                  </a:lnTo>
                  <a:lnTo>
                    <a:pt x="387" y="514"/>
                  </a:lnTo>
                  <a:lnTo>
                    <a:pt x="397" y="498"/>
                  </a:lnTo>
                  <a:lnTo>
                    <a:pt x="387" y="480"/>
                  </a:lnTo>
                  <a:lnTo>
                    <a:pt x="375" y="478"/>
                  </a:lnTo>
                  <a:lnTo>
                    <a:pt x="375" y="462"/>
                  </a:lnTo>
                  <a:lnTo>
                    <a:pt x="383" y="454"/>
                  </a:lnTo>
                  <a:lnTo>
                    <a:pt x="391" y="436"/>
                  </a:lnTo>
                  <a:lnTo>
                    <a:pt x="421" y="420"/>
                  </a:lnTo>
                  <a:lnTo>
                    <a:pt x="427" y="412"/>
                  </a:lnTo>
                  <a:lnTo>
                    <a:pt x="425" y="340"/>
                  </a:lnTo>
                  <a:lnTo>
                    <a:pt x="431" y="340"/>
                  </a:lnTo>
                  <a:lnTo>
                    <a:pt x="435" y="330"/>
                  </a:lnTo>
                  <a:lnTo>
                    <a:pt x="443" y="336"/>
                  </a:lnTo>
                  <a:lnTo>
                    <a:pt x="577" y="212"/>
                  </a:lnTo>
                  <a:lnTo>
                    <a:pt x="607" y="20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" name="Freeform 243"/>
            <p:cNvSpPr>
              <a:spLocks/>
            </p:cNvSpPr>
            <p:nvPr/>
          </p:nvSpPr>
          <p:spPr bwMode="auto">
            <a:xfrm>
              <a:off x="5192317" y="1410316"/>
              <a:ext cx="683419" cy="352425"/>
            </a:xfrm>
            <a:custGeom>
              <a:avLst/>
              <a:gdLst>
                <a:gd name="T0" fmla="*/ 330 w 574"/>
                <a:gd name="T1" fmla="*/ 206 h 296"/>
                <a:gd name="T2" fmla="*/ 342 w 574"/>
                <a:gd name="T3" fmla="*/ 226 h 296"/>
                <a:gd name="T4" fmla="*/ 376 w 574"/>
                <a:gd name="T5" fmla="*/ 192 h 296"/>
                <a:gd name="T6" fmla="*/ 432 w 574"/>
                <a:gd name="T7" fmla="*/ 162 h 296"/>
                <a:gd name="T8" fmla="*/ 494 w 574"/>
                <a:gd name="T9" fmla="*/ 168 h 296"/>
                <a:gd name="T10" fmla="*/ 514 w 574"/>
                <a:gd name="T11" fmla="*/ 176 h 296"/>
                <a:gd name="T12" fmla="*/ 518 w 574"/>
                <a:gd name="T13" fmla="*/ 156 h 296"/>
                <a:gd name="T14" fmla="*/ 534 w 574"/>
                <a:gd name="T15" fmla="*/ 168 h 296"/>
                <a:gd name="T16" fmla="*/ 574 w 574"/>
                <a:gd name="T17" fmla="*/ 156 h 296"/>
                <a:gd name="T18" fmla="*/ 562 w 574"/>
                <a:gd name="T19" fmla="*/ 146 h 296"/>
                <a:gd name="T20" fmla="*/ 546 w 574"/>
                <a:gd name="T21" fmla="*/ 134 h 296"/>
                <a:gd name="T22" fmla="*/ 538 w 574"/>
                <a:gd name="T23" fmla="*/ 108 h 296"/>
                <a:gd name="T24" fmla="*/ 532 w 574"/>
                <a:gd name="T25" fmla="*/ 96 h 296"/>
                <a:gd name="T26" fmla="*/ 496 w 574"/>
                <a:gd name="T27" fmla="*/ 102 h 296"/>
                <a:gd name="T28" fmla="*/ 468 w 574"/>
                <a:gd name="T29" fmla="*/ 78 h 296"/>
                <a:gd name="T30" fmla="*/ 450 w 574"/>
                <a:gd name="T31" fmla="*/ 70 h 296"/>
                <a:gd name="T32" fmla="*/ 372 w 574"/>
                <a:gd name="T33" fmla="*/ 88 h 296"/>
                <a:gd name="T34" fmla="*/ 334 w 574"/>
                <a:gd name="T35" fmla="*/ 118 h 296"/>
                <a:gd name="T36" fmla="*/ 288 w 574"/>
                <a:gd name="T37" fmla="*/ 118 h 296"/>
                <a:gd name="T38" fmla="*/ 242 w 574"/>
                <a:gd name="T39" fmla="*/ 90 h 296"/>
                <a:gd name="T40" fmla="*/ 188 w 574"/>
                <a:gd name="T41" fmla="*/ 84 h 296"/>
                <a:gd name="T42" fmla="*/ 168 w 574"/>
                <a:gd name="T43" fmla="*/ 94 h 296"/>
                <a:gd name="T44" fmla="*/ 174 w 574"/>
                <a:gd name="T45" fmla="*/ 58 h 296"/>
                <a:gd name="T46" fmla="*/ 222 w 574"/>
                <a:gd name="T47" fmla="*/ 8 h 296"/>
                <a:gd name="T48" fmla="*/ 202 w 574"/>
                <a:gd name="T49" fmla="*/ 2 h 296"/>
                <a:gd name="T50" fmla="*/ 50 w 574"/>
                <a:gd name="T51" fmla="*/ 100 h 296"/>
                <a:gd name="T52" fmla="*/ 0 w 574"/>
                <a:gd name="T53" fmla="*/ 126 h 296"/>
                <a:gd name="T54" fmla="*/ 8 w 574"/>
                <a:gd name="T55" fmla="*/ 128 h 296"/>
                <a:gd name="T56" fmla="*/ 28 w 574"/>
                <a:gd name="T57" fmla="*/ 156 h 296"/>
                <a:gd name="T58" fmla="*/ 170 w 574"/>
                <a:gd name="T59" fmla="*/ 186 h 296"/>
                <a:gd name="T60" fmla="*/ 210 w 574"/>
                <a:gd name="T61" fmla="*/ 202 h 296"/>
                <a:gd name="T62" fmla="*/ 228 w 574"/>
                <a:gd name="T63" fmla="*/ 216 h 296"/>
                <a:gd name="T64" fmla="*/ 236 w 574"/>
                <a:gd name="T65" fmla="*/ 228 h 296"/>
                <a:gd name="T66" fmla="*/ 236 w 574"/>
                <a:gd name="T67" fmla="*/ 240 h 296"/>
                <a:gd name="T68" fmla="*/ 234 w 574"/>
                <a:gd name="T69" fmla="*/ 256 h 296"/>
                <a:gd name="T70" fmla="*/ 252 w 574"/>
                <a:gd name="T71" fmla="*/ 262 h 296"/>
                <a:gd name="T72" fmla="*/ 248 w 574"/>
                <a:gd name="T73" fmla="*/ 286 h 296"/>
                <a:gd name="T74" fmla="*/ 260 w 574"/>
                <a:gd name="T75" fmla="*/ 296 h 296"/>
                <a:gd name="T76" fmla="*/ 312 w 574"/>
                <a:gd name="T77" fmla="*/ 212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4" h="296">
                  <a:moveTo>
                    <a:pt x="318" y="212"/>
                  </a:moveTo>
                  <a:lnTo>
                    <a:pt x="330" y="206"/>
                  </a:lnTo>
                  <a:lnTo>
                    <a:pt x="340" y="194"/>
                  </a:lnTo>
                  <a:lnTo>
                    <a:pt x="342" y="226"/>
                  </a:lnTo>
                  <a:lnTo>
                    <a:pt x="350" y="224"/>
                  </a:lnTo>
                  <a:lnTo>
                    <a:pt x="376" y="192"/>
                  </a:lnTo>
                  <a:lnTo>
                    <a:pt x="422" y="176"/>
                  </a:lnTo>
                  <a:lnTo>
                    <a:pt x="432" y="162"/>
                  </a:lnTo>
                  <a:lnTo>
                    <a:pt x="452" y="156"/>
                  </a:lnTo>
                  <a:lnTo>
                    <a:pt x="494" y="168"/>
                  </a:lnTo>
                  <a:lnTo>
                    <a:pt x="502" y="176"/>
                  </a:lnTo>
                  <a:lnTo>
                    <a:pt x="514" y="176"/>
                  </a:lnTo>
                  <a:lnTo>
                    <a:pt x="514" y="164"/>
                  </a:lnTo>
                  <a:lnTo>
                    <a:pt x="518" y="156"/>
                  </a:lnTo>
                  <a:lnTo>
                    <a:pt x="526" y="160"/>
                  </a:lnTo>
                  <a:lnTo>
                    <a:pt x="534" y="168"/>
                  </a:lnTo>
                  <a:lnTo>
                    <a:pt x="574" y="156"/>
                  </a:lnTo>
                  <a:lnTo>
                    <a:pt x="574" y="156"/>
                  </a:lnTo>
                  <a:lnTo>
                    <a:pt x="572" y="150"/>
                  </a:lnTo>
                  <a:lnTo>
                    <a:pt x="562" y="146"/>
                  </a:lnTo>
                  <a:lnTo>
                    <a:pt x="556" y="138"/>
                  </a:lnTo>
                  <a:lnTo>
                    <a:pt x="546" y="134"/>
                  </a:lnTo>
                  <a:lnTo>
                    <a:pt x="542" y="116"/>
                  </a:lnTo>
                  <a:lnTo>
                    <a:pt x="538" y="108"/>
                  </a:lnTo>
                  <a:lnTo>
                    <a:pt x="536" y="100"/>
                  </a:lnTo>
                  <a:lnTo>
                    <a:pt x="532" y="96"/>
                  </a:lnTo>
                  <a:lnTo>
                    <a:pt x="530" y="96"/>
                  </a:lnTo>
                  <a:lnTo>
                    <a:pt x="496" y="102"/>
                  </a:lnTo>
                  <a:lnTo>
                    <a:pt x="470" y="96"/>
                  </a:lnTo>
                  <a:lnTo>
                    <a:pt x="468" y="78"/>
                  </a:lnTo>
                  <a:lnTo>
                    <a:pt x="462" y="70"/>
                  </a:lnTo>
                  <a:lnTo>
                    <a:pt x="450" y="70"/>
                  </a:lnTo>
                  <a:lnTo>
                    <a:pt x="434" y="80"/>
                  </a:lnTo>
                  <a:lnTo>
                    <a:pt x="372" y="88"/>
                  </a:lnTo>
                  <a:lnTo>
                    <a:pt x="344" y="106"/>
                  </a:lnTo>
                  <a:lnTo>
                    <a:pt x="334" y="118"/>
                  </a:lnTo>
                  <a:lnTo>
                    <a:pt x="326" y="122"/>
                  </a:lnTo>
                  <a:lnTo>
                    <a:pt x="288" y="118"/>
                  </a:lnTo>
                  <a:lnTo>
                    <a:pt x="272" y="122"/>
                  </a:lnTo>
                  <a:lnTo>
                    <a:pt x="242" y="90"/>
                  </a:lnTo>
                  <a:lnTo>
                    <a:pt x="212" y="76"/>
                  </a:lnTo>
                  <a:lnTo>
                    <a:pt x="188" y="84"/>
                  </a:lnTo>
                  <a:lnTo>
                    <a:pt x="180" y="82"/>
                  </a:lnTo>
                  <a:lnTo>
                    <a:pt x="168" y="94"/>
                  </a:lnTo>
                  <a:lnTo>
                    <a:pt x="168" y="70"/>
                  </a:lnTo>
                  <a:lnTo>
                    <a:pt x="174" y="58"/>
                  </a:lnTo>
                  <a:lnTo>
                    <a:pt x="184" y="52"/>
                  </a:lnTo>
                  <a:lnTo>
                    <a:pt x="222" y="8"/>
                  </a:lnTo>
                  <a:lnTo>
                    <a:pt x="222" y="0"/>
                  </a:lnTo>
                  <a:lnTo>
                    <a:pt x="202" y="2"/>
                  </a:lnTo>
                  <a:lnTo>
                    <a:pt x="94" y="86"/>
                  </a:lnTo>
                  <a:lnTo>
                    <a:pt x="50" y="100"/>
                  </a:lnTo>
                  <a:lnTo>
                    <a:pt x="22" y="122"/>
                  </a:lnTo>
                  <a:lnTo>
                    <a:pt x="0" y="126"/>
                  </a:lnTo>
                  <a:lnTo>
                    <a:pt x="2" y="130"/>
                  </a:lnTo>
                  <a:lnTo>
                    <a:pt x="8" y="128"/>
                  </a:lnTo>
                  <a:lnTo>
                    <a:pt x="18" y="134"/>
                  </a:lnTo>
                  <a:lnTo>
                    <a:pt x="28" y="156"/>
                  </a:lnTo>
                  <a:lnTo>
                    <a:pt x="160" y="190"/>
                  </a:lnTo>
                  <a:lnTo>
                    <a:pt x="170" y="186"/>
                  </a:lnTo>
                  <a:lnTo>
                    <a:pt x="208" y="196"/>
                  </a:lnTo>
                  <a:lnTo>
                    <a:pt x="210" y="202"/>
                  </a:lnTo>
                  <a:lnTo>
                    <a:pt x="208" y="212"/>
                  </a:lnTo>
                  <a:lnTo>
                    <a:pt x="228" y="216"/>
                  </a:lnTo>
                  <a:lnTo>
                    <a:pt x="238" y="224"/>
                  </a:lnTo>
                  <a:lnTo>
                    <a:pt x="236" y="228"/>
                  </a:lnTo>
                  <a:lnTo>
                    <a:pt x="240" y="236"/>
                  </a:lnTo>
                  <a:lnTo>
                    <a:pt x="236" y="240"/>
                  </a:lnTo>
                  <a:lnTo>
                    <a:pt x="240" y="248"/>
                  </a:lnTo>
                  <a:lnTo>
                    <a:pt x="234" y="256"/>
                  </a:lnTo>
                  <a:lnTo>
                    <a:pt x="234" y="264"/>
                  </a:lnTo>
                  <a:lnTo>
                    <a:pt x="252" y="262"/>
                  </a:lnTo>
                  <a:lnTo>
                    <a:pt x="254" y="266"/>
                  </a:lnTo>
                  <a:lnTo>
                    <a:pt x="248" y="286"/>
                  </a:lnTo>
                  <a:lnTo>
                    <a:pt x="262" y="296"/>
                  </a:lnTo>
                  <a:lnTo>
                    <a:pt x="260" y="296"/>
                  </a:lnTo>
                  <a:lnTo>
                    <a:pt x="266" y="296"/>
                  </a:lnTo>
                  <a:lnTo>
                    <a:pt x="312" y="212"/>
                  </a:lnTo>
                  <a:lnTo>
                    <a:pt x="318" y="212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" name="Freeform 244"/>
            <p:cNvSpPr>
              <a:spLocks/>
            </p:cNvSpPr>
            <p:nvPr/>
          </p:nvSpPr>
          <p:spPr bwMode="auto">
            <a:xfrm>
              <a:off x="5618560" y="1646060"/>
              <a:ext cx="471488" cy="611981"/>
            </a:xfrm>
            <a:custGeom>
              <a:avLst/>
              <a:gdLst>
                <a:gd name="T0" fmla="*/ 354 w 396"/>
                <a:gd name="T1" fmla="*/ 450 h 514"/>
                <a:gd name="T2" fmla="*/ 358 w 396"/>
                <a:gd name="T3" fmla="*/ 410 h 514"/>
                <a:gd name="T4" fmla="*/ 364 w 396"/>
                <a:gd name="T5" fmla="*/ 388 h 514"/>
                <a:gd name="T6" fmla="*/ 376 w 396"/>
                <a:gd name="T7" fmla="*/ 366 h 514"/>
                <a:gd name="T8" fmla="*/ 396 w 396"/>
                <a:gd name="T9" fmla="*/ 302 h 514"/>
                <a:gd name="T10" fmla="*/ 386 w 396"/>
                <a:gd name="T11" fmla="*/ 286 h 514"/>
                <a:gd name="T12" fmla="*/ 338 w 396"/>
                <a:gd name="T13" fmla="*/ 184 h 514"/>
                <a:gd name="T14" fmla="*/ 296 w 396"/>
                <a:gd name="T15" fmla="*/ 206 h 514"/>
                <a:gd name="T16" fmla="*/ 268 w 396"/>
                <a:gd name="T17" fmla="*/ 248 h 514"/>
                <a:gd name="T18" fmla="*/ 252 w 396"/>
                <a:gd name="T19" fmla="*/ 240 h 514"/>
                <a:gd name="T20" fmla="*/ 282 w 396"/>
                <a:gd name="T21" fmla="*/ 184 h 514"/>
                <a:gd name="T22" fmla="*/ 294 w 396"/>
                <a:gd name="T23" fmla="*/ 156 h 514"/>
                <a:gd name="T24" fmla="*/ 284 w 396"/>
                <a:gd name="T25" fmla="*/ 96 h 514"/>
                <a:gd name="T26" fmla="*/ 276 w 396"/>
                <a:gd name="T27" fmla="*/ 72 h 514"/>
                <a:gd name="T28" fmla="*/ 282 w 396"/>
                <a:gd name="T29" fmla="*/ 64 h 514"/>
                <a:gd name="T30" fmla="*/ 256 w 396"/>
                <a:gd name="T31" fmla="*/ 34 h 514"/>
                <a:gd name="T32" fmla="*/ 220 w 396"/>
                <a:gd name="T33" fmla="*/ 22 h 514"/>
                <a:gd name="T34" fmla="*/ 190 w 396"/>
                <a:gd name="T35" fmla="*/ 4 h 514"/>
                <a:gd name="T36" fmla="*/ 170 w 396"/>
                <a:gd name="T37" fmla="*/ 6 h 514"/>
                <a:gd name="T38" fmla="*/ 148 w 396"/>
                <a:gd name="T39" fmla="*/ 0 h 514"/>
                <a:gd name="T40" fmla="*/ 122 w 396"/>
                <a:gd name="T41" fmla="*/ 14 h 514"/>
                <a:gd name="T42" fmla="*/ 134 w 396"/>
                <a:gd name="T43" fmla="*/ 42 h 514"/>
                <a:gd name="T44" fmla="*/ 98 w 396"/>
                <a:gd name="T45" fmla="*/ 62 h 514"/>
                <a:gd name="T46" fmla="*/ 90 w 396"/>
                <a:gd name="T47" fmla="*/ 106 h 514"/>
                <a:gd name="T48" fmla="*/ 82 w 396"/>
                <a:gd name="T49" fmla="*/ 112 h 514"/>
                <a:gd name="T50" fmla="*/ 74 w 396"/>
                <a:gd name="T51" fmla="*/ 82 h 514"/>
                <a:gd name="T52" fmla="*/ 58 w 396"/>
                <a:gd name="T53" fmla="*/ 98 h 514"/>
                <a:gd name="T54" fmla="*/ 36 w 396"/>
                <a:gd name="T55" fmla="*/ 130 h 514"/>
                <a:gd name="T56" fmla="*/ 28 w 396"/>
                <a:gd name="T57" fmla="*/ 190 h 514"/>
                <a:gd name="T58" fmla="*/ 22 w 396"/>
                <a:gd name="T59" fmla="*/ 204 h 514"/>
                <a:gd name="T60" fmla="*/ 48 w 396"/>
                <a:gd name="T61" fmla="*/ 342 h 514"/>
                <a:gd name="T62" fmla="*/ 22 w 396"/>
                <a:gd name="T63" fmla="*/ 498 h 514"/>
                <a:gd name="T64" fmla="*/ 198 w 396"/>
                <a:gd name="T65" fmla="*/ 496 h 514"/>
                <a:gd name="T66" fmla="*/ 328 w 396"/>
                <a:gd name="T67" fmla="*/ 488 h 514"/>
                <a:gd name="T68" fmla="*/ 354 w 396"/>
                <a:gd name="T69" fmla="*/ 45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6" h="514">
                  <a:moveTo>
                    <a:pt x="354" y="450"/>
                  </a:moveTo>
                  <a:lnTo>
                    <a:pt x="354" y="450"/>
                  </a:lnTo>
                  <a:lnTo>
                    <a:pt x="352" y="430"/>
                  </a:lnTo>
                  <a:lnTo>
                    <a:pt x="358" y="410"/>
                  </a:lnTo>
                  <a:lnTo>
                    <a:pt x="366" y="398"/>
                  </a:lnTo>
                  <a:lnTo>
                    <a:pt x="364" y="388"/>
                  </a:lnTo>
                  <a:lnTo>
                    <a:pt x="366" y="378"/>
                  </a:lnTo>
                  <a:lnTo>
                    <a:pt x="376" y="366"/>
                  </a:lnTo>
                  <a:lnTo>
                    <a:pt x="396" y="364"/>
                  </a:lnTo>
                  <a:lnTo>
                    <a:pt x="396" y="302"/>
                  </a:lnTo>
                  <a:lnTo>
                    <a:pt x="392" y="296"/>
                  </a:lnTo>
                  <a:lnTo>
                    <a:pt x="386" y="286"/>
                  </a:lnTo>
                  <a:lnTo>
                    <a:pt x="372" y="232"/>
                  </a:lnTo>
                  <a:lnTo>
                    <a:pt x="338" y="184"/>
                  </a:lnTo>
                  <a:lnTo>
                    <a:pt x="298" y="202"/>
                  </a:lnTo>
                  <a:lnTo>
                    <a:pt x="296" y="206"/>
                  </a:lnTo>
                  <a:lnTo>
                    <a:pt x="288" y="234"/>
                  </a:lnTo>
                  <a:lnTo>
                    <a:pt x="268" y="248"/>
                  </a:lnTo>
                  <a:lnTo>
                    <a:pt x="256" y="246"/>
                  </a:lnTo>
                  <a:lnTo>
                    <a:pt x="252" y="240"/>
                  </a:lnTo>
                  <a:lnTo>
                    <a:pt x="260" y="206"/>
                  </a:lnTo>
                  <a:lnTo>
                    <a:pt x="282" y="184"/>
                  </a:lnTo>
                  <a:lnTo>
                    <a:pt x="286" y="168"/>
                  </a:lnTo>
                  <a:lnTo>
                    <a:pt x="294" y="156"/>
                  </a:lnTo>
                  <a:lnTo>
                    <a:pt x="298" y="146"/>
                  </a:lnTo>
                  <a:lnTo>
                    <a:pt x="284" y="96"/>
                  </a:lnTo>
                  <a:lnTo>
                    <a:pt x="278" y="84"/>
                  </a:lnTo>
                  <a:lnTo>
                    <a:pt x="276" y="72"/>
                  </a:lnTo>
                  <a:lnTo>
                    <a:pt x="280" y="64"/>
                  </a:lnTo>
                  <a:lnTo>
                    <a:pt x="282" y="64"/>
                  </a:lnTo>
                  <a:lnTo>
                    <a:pt x="268" y="44"/>
                  </a:lnTo>
                  <a:lnTo>
                    <a:pt x="256" y="34"/>
                  </a:lnTo>
                  <a:lnTo>
                    <a:pt x="230" y="28"/>
                  </a:lnTo>
                  <a:lnTo>
                    <a:pt x="220" y="22"/>
                  </a:lnTo>
                  <a:lnTo>
                    <a:pt x="212" y="20"/>
                  </a:lnTo>
                  <a:lnTo>
                    <a:pt x="190" y="4"/>
                  </a:lnTo>
                  <a:lnTo>
                    <a:pt x="180" y="2"/>
                  </a:lnTo>
                  <a:lnTo>
                    <a:pt x="170" y="6"/>
                  </a:lnTo>
                  <a:lnTo>
                    <a:pt x="166" y="2"/>
                  </a:lnTo>
                  <a:lnTo>
                    <a:pt x="148" y="0"/>
                  </a:lnTo>
                  <a:lnTo>
                    <a:pt x="130" y="2"/>
                  </a:lnTo>
                  <a:lnTo>
                    <a:pt x="122" y="14"/>
                  </a:lnTo>
                  <a:lnTo>
                    <a:pt x="126" y="32"/>
                  </a:lnTo>
                  <a:lnTo>
                    <a:pt x="134" y="42"/>
                  </a:lnTo>
                  <a:lnTo>
                    <a:pt x="132" y="46"/>
                  </a:lnTo>
                  <a:lnTo>
                    <a:pt x="98" y="62"/>
                  </a:lnTo>
                  <a:lnTo>
                    <a:pt x="98" y="104"/>
                  </a:lnTo>
                  <a:lnTo>
                    <a:pt x="90" y="106"/>
                  </a:lnTo>
                  <a:lnTo>
                    <a:pt x="84" y="118"/>
                  </a:lnTo>
                  <a:lnTo>
                    <a:pt x="82" y="112"/>
                  </a:lnTo>
                  <a:lnTo>
                    <a:pt x="78" y="90"/>
                  </a:lnTo>
                  <a:lnTo>
                    <a:pt x="74" y="82"/>
                  </a:lnTo>
                  <a:lnTo>
                    <a:pt x="66" y="88"/>
                  </a:lnTo>
                  <a:lnTo>
                    <a:pt x="58" y="98"/>
                  </a:lnTo>
                  <a:lnTo>
                    <a:pt x="38" y="114"/>
                  </a:lnTo>
                  <a:lnTo>
                    <a:pt x="36" y="130"/>
                  </a:lnTo>
                  <a:lnTo>
                    <a:pt x="28" y="142"/>
                  </a:lnTo>
                  <a:lnTo>
                    <a:pt x="28" y="190"/>
                  </a:lnTo>
                  <a:lnTo>
                    <a:pt x="30" y="196"/>
                  </a:lnTo>
                  <a:lnTo>
                    <a:pt x="22" y="204"/>
                  </a:lnTo>
                  <a:lnTo>
                    <a:pt x="14" y="272"/>
                  </a:lnTo>
                  <a:lnTo>
                    <a:pt x="48" y="342"/>
                  </a:lnTo>
                  <a:lnTo>
                    <a:pt x="50" y="400"/>
                  </a:lnTo>
                  <a:lnTo>
                    <a:pt x="22" y="498"/>
                  </a:lnTo>
                  <a:lnTo>
                    <a:pt x="0" y="514"/>
                  </a:lnTo>
                  <a:lnTo>
                    <a:pt x="198" y="496"/>
                  </a:lnTo>
                  <a:lnTo>
                    <a:pt x="198" y="504"/>
                  </a:lnTo>
                  <a:lnTo>
                    <a:pt x="328" y="488"/>
                  </a:lnTo>
                  <a:lnTo>
                    <a:pt x="354" y="450"/>
                  </a:lnTo>
                  <a:lnTo>
                    <a:pt x="354" y="45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" name="Freeform 245"/>
            <p:cNvSpPr>
              <a:spLocks/>
            </p:cNvSpPr>
            <p:nvPr/>
          </p:nvSpPr>
          <p:spPr bwMode="auto">
            <a:xfrm>
              <a:off x="7094935" y="1943715"/>
              <a:ext cx="204788" cy="197644"/>
            </a:xfrm>
            <a:custGeom>
              <a:avLst/>
              <a:gdLst>
                <a:gd name="T0" fmla="*/ 14 w 172"/>
                <a:gd name="T1" fmla="*/ 166 h 166"/>
                <a:gd name="T2" fmla="*/ 68 w 172"/>
                <a:gd name="T3" fmla="*/ 134 h 166"/>
                <a:gd name="T4" fmla="*/ 72 w 172"/>
                <a:gd name="T5" fmla="*/ 122 h 166"/>
                <a:gd name="T6" fmla="*/ 84 w 172"/>
                <a:gd name="T7" fmla="*/ 112 h 166"/>
                <a:gd name="T8" fmla="*/ 108 w 172"/>
                <a:gd name="T9" fmla="*/ 112 h 166"/>
                <a:gd name="T10" fmla="*/ 172 w 172"/>
                <a:gd name="T11" fmla="*/ 88 h 166"/>
                <a:gd name="T12" fmla="*/ 170 w 172"/>
                <a:gd name="T13" fmla="*/ 78 h 166"/>
                <a:gd name="T14" fmla="*/ 172 w 172"/>
                <a:gd name="T15" fmla="*/ 76 h 166"/>
                <a:gd name="T16" fmla="*/ 154 w 172"/>
                <a:gd name="T17" fmla="*/ 0 h 166"/>
                <a:gd name="T18" fmla="*/ 68 w 172"/>
                <a:gd name="T19" fmla="*/ 20 h 166"/>
                <a:gd name="T20" fmla="*/ 66 w 172"/>
                <a:gd name="T21" fmla="*/ 26 h 166"/>
                <a:gd name="T22" fmla="*/ 62 w 172"/>
                <a:gd name="T23" fmla="*/ 22 h 166"/>
                <a:gd name="T24" fmla="*/ 0 w 172"/>
                <a:gd name="T25" fmla="*/ 36 h 166"/>
                <a:gd name="T26" fmla="*/ 14 w 172"/>
                <a:gd name="T27" fmla="*/ 128 h 166"/>
                <a:gd name="T28" fmla="*/ 24 w 172"/>
                <a:gd name="T29" fmla="*/ 138 h 166"/>
                <a:gd name="T30" fmla="*/ 4 w 172"/>
                <a:gd name="T31" fmla="*/ 156 h 166"/>
                <a:gd name="T32" fmla="*/ 14 w 172"/>
                <a:gd name="T33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166">
                  <a:moveTo>
                    <a:pt x="14" y="166"/>
                  </a:moveTo>
                  <a:lnTo>
                    <a:pt x="68" y="134"/>
                  </a:lnTo>
                  <a:lnTo>
                    <a:pt x="72" y="122"/>
                  </a:lnTo>
                  <a:lnTo>
                    <a:pt x="84" y="112"/>
                  </a:lnTo>
                  <a:lnTo>
                    <a:pt x="108" y="112"/>
                  </a:lnTo>
                  <a:lnTo>
                    <a:pt x="172" y="88"/>
                  </a:lnTo>
                  <a:lnTo>
                    <a:pt x="170" y="78"/>
                  </a:lnTo>
                  <a:lnTo>
                    <a:pt x="172" y="76"/>
                  </a:lnTo>
                  <a:lnTo>
                    <a:pt x="154" y="0"/>
                  </a:lnTo>
                  <a:lnTo>
                    <a:pt x="68" y="20"/>
                  </a:lnTo>
                  <a:lnTo>
                    <a:pt x="66" y="26"/>
                  </a:lnTo>
                  <a:lnTo>
                    <a:pt x="62" y="22"/>
                  </a:lnTo>
                  <a:lnTo>
                    <a:pt x="0" y="36"/>
                  </a:lnTo>
                  <a:lnTo>
                    <a:pt x="14" y="128"/>
                  </a:lnTo>
                  <a:lnTo>
                    <a:pt x="24" y="138"/>
                  </a:lnTo>
                  <a:lnTo>
                    <a:pt x="4" y="156"/>
                  </a:lnTo>
                  <a:lnTo>
                    <a:pt x="14" y="16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" name="Freeform 246"/>
            <p:cNvSpPr>
              <a:spLocks/>
            </p:cNvSpPr>
            <p:nvPr/>
          </p:nvSpPr>
          <p:spPr bwMode="auto">
            <a:xfrm>
              <a:off x="6494861" y="2384248"/>
              <a:ext cx="542925" cy="259556"/>
            </a:xfrm>
            <a:custGeom>
              <a:avLst/>
              <a:gdLst>
                <a:gd name="T0" fmla="*/ 0 w 456"/>
                <a:gd name="T1" fmla="*/ 66 h 218"/>
                <a:gd name="T2" fmla="*/ 10 w 456"/>
                <a:gd name="T3" fmla="*/ 132 h 218"/>
                <a:gd name="T4" fmla="*/ 42 w 456"/>
                <a:gd name="T5" fmla="*/ 92 h 218"/>
                <a:gd name="T6" fmla="*/ 56 w 456"/>
                <a:gd name="T7" fmla="*/ 92 h 218"/>
                <a:gd name="T8" fmla="*/ 70 w 456"/>
                <a:gd name="T9" fmla="*/ 64 h 218"/>
                <a:gd name="T10" fmla="*/ 74 w 456"/>
                <a:gd name="T11" fmla="*/ 72 h 218"/>
                <a:gd name="T12" fmla="*/ 102 w 456"/>
                <a:gd name="T13" fmla="*/ 74 h 218"/>
                <a:gd name="T14" fmla="*/ 102 w 456"/>
                <a:gd name="T15" fmla="*/ 66 h 218"/>
                <a:gd name="T16" fmla="*/ 104 w 456"/>
                <a:gd name="T17" fmla="*/ 62 h 218"/>
                <a:gd name="T18" fmla="*/ 126 w 456"/>
                <a:gd name="T19" fmla="*/ 48 h 218"/>
                <a:gd name="T20" fmla="*/ 160 w 456"/>
                <a:gd name="T21" fmla="*/ 52 h 218"/>
                <a:gd name="T22" fmla="*/ 158 w 456"/>
                <a:gd name="T23" fmla="*/ 60 h 218"/>
                <a:gd name="T24" fmla="*/ 164 w 456"/>
                <a:gd name="T25" fmla="*/ 62 h 218"/>
                <a:gd name="T26" fmla="*/ 170 w 456"/>
                <a:gd name="T27" fmla="*/ 66 h 218"/>
                <a:gd name="T28" fmla="*/ 174 w 456"/>
                <a:gd name="T29" fmla="*/ 76 h 218"/>
                <a:gd name="T30" fmla="*/ 194 w 456"/>
                <a:gd name="T31" fmla="*/ 86 h 218"/>
                <a:gd name="T32" fmla="*/ 202 w 456"/>
                <a:gd name="T33" fmla="*/ 106 h 218"/>
                <a:gd name="T34" fmla="*/ 228 w 456"/>
                <a:gd name="T35" fmla="*/ 114 h 218"/>
                <a:gd name="T36" fmla="*/ 244 w 456"/>
                <a:gd name="T37" fmla="*/ 124 h 218"/>
                <a:gd name="T38" fmla="*/ 254 w 456"/>
                <a:gd name="T39" fmla="*/ 132 h 218"/>
                <a:gd name="T40" fmla="*/ 258 w 456"/>
                <a:gd name="T41" fmla="*/ 148 h 218"/>
                <a:gd name="T42" fmla="*/ 250 w 456"/>
                <a:gd name="T43" fmla="*/ 166 h 218"/>
                <a:gd name="T44" fmla="*/ 248 w 456"/>
                <a:gd name="T45" fmla="*/ 184 h 218"/>
                <a:gd name="T46" fmla="*/ 266 w 456"/>
                <a:gd name="T47" fmla="*/ 188 h 218"/>
                <a:gd name="T48" fmla="*/ 298 w 456"/>
                <a:gd name="T49" fmla="*/ 192 h 218"/>
                <a:gd name="T50" fmla="*/ 320 w 456"/>
                <a:gd name="T51" fmla="*/ 200 h 218"/>
                <a:gd name="T52" fmla="*/ 344 w 456"/>
                <a:gd name="T53" fmla="*/ 212 h 218"/>
                <a:gd name="T54" fmla="*/ 316 w 456"/>
                <a:gd name="T55" fmla="*/ 174 h 218"/>
                <a:gd name="T56" fmla="*/ 324 w 456"/>
                <a:gd name="T57" fmla="*/ 170 h 218"/>
                <a:gd name="T58" fmla="*/ 308 w 456"/>
                <a:gd name="T59" fmla="*/ 92 h 218"/>
                <a:gd name="T60" fmla="*/ 332 w 456"/>
                <a:gd name="T61" fmla="*/ 46 h 218"/>
                <a:gd name="T62" fmla="*/ 344 w 456"/>
                <a:gd name="T63" fmla="*/ 22 h 218"/>
                <a:gd name="T64" fmla="*/ 350 w 456"/>
                <a:gd name="T65" fmla="*/ 30 h 218"/>
                <a:gd name="T66" fmla="*/ 346 w 456"/>
                <a:gd name="T67" fmla="*/ 48 h 218"/>
                <a:gd name="T68" fmla="*/ 334 w 456"/>
                <a:gd name="T69" fmla="*/ 66 h 218"/>
                <a:gd name="T70" fmla="*/ 340 w 456"/>
                <a:gd name="T71" fmla="*/ 84 h 218"/>
                <a:gd name="T72" fmla="*/ 330 w 456"/>
                <a:gd name="T73" fmla="*/ 108 h 218"/>
                <a:gd name="T74" fmla="*/ 344 w 456"/>
                <a:gd name="T75" fmla="*/ 110 h 218"/>
                <a:gd name="T76" fmla="*/ 354 w 456"/>
                <a:gd name="T77" fmla="*/ 140 h 218"/>
                <a:gd name="T78" fmla="*/ 344 w 456"/>
                <a:gd name="T79" fmla="*/ 154 h 218"/>
                <a:gd name="T80" fmla="*/ 350 w 456"/>
                <a:gd name="T81" fmla="*/ 174 h 218"/>
                <a:gd name="T82" fmla="*/ 378 w 456"/>
                <a:gd name="T83" fmla="*/ 182 h 218"/>
                <a:gd name="T84" fmla="*/ 398 w 456"/>
                <a:gd name="T85" fmla="*/ 202 h 218"/>
                <a:gd name="T86" fmla="*/ 406 w 456"/>
                <a:gd name="T87" fmla="*/ 218 h 218"/>
                <a:gd name="T88" fmla="*/ 446 w 456"/>
                <a:gd name="T89" fmla="*/ 184 h 218"/>
                <a:gd name="T90" fmla="*/ 456 w 456"/>
                <a:gd name="T91" fmla="*/ 144 h 218"/>
                <a:gd name="T92" fmla="*/ 352 w 456"/>
                <a:gd name="T93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6" h="218">
                  <a:moveTo>
                    <a:pt x="352" y="0"/>
                  </a:moveTo>
                  <a:lnTo>
                    <a:pt x="0" y="66"/>
                  </a:lnTo>
                  <a:lnTo>
                    <a:pt x="2" y="66"/>
                  </a:lnTo>
                  <a:lnTo>
                    <a:pt x="10" y="132"/>
                  </a:lnTo>
                  <a:lnTo>
                    <a:pt x="28" y="116"/>
                  </a:lnTo>
                  <a:lnTo>
                    <a:pt x="42" y="92"/>
                  </a:lnTo>
                  <a:lnTo>
                    <a:pt x="48" y="88"/>
                  </a:lnTo>
                  <a:lnTo>
                    <a:pt x="56" y="92"/>
                  </a:lnTo>
                  <a:lnTo>
                    <a:pt x="68" y="74"/>
                  </a:lnTo>
                  <a:lnTo>
                    <a:pt x="70" y="64"/>
                  </a:lnTo>
                  <a:lnTo>
                    <a:pt x="74" y="68"/>
                  </a:lnTo>
                  <a:lnTo>
                    <a:pt x="74" y="72"/>
                  </a:lnTo>
                  <a:lnTo>
                    <a:pt x="92" y="76"/>
                  </a:lnTo>
                  <a:lnTo>
                    <a:pt x="102" y="74"/>
                  </a:lnTo>
                  <a:lnTo>
                    <a:pt x="106" y="70"/>
                  </a:lnTo>
                  <a:lnTo>
                    <a:pt x="102" y="66"/>
                  </a:lnTo>
                  <a:lnTo>
                    <a:pt x="106" y="64"/>
                  </a:lnTo>
                  <a:lnTo>
                    <a:pt x="104" y="62"/>
                  </a:lnTo>
                  <a:lnTo>
                    <a:pt x="118" y="58"/>
                  </a:lnTo>
                  <a:lnTo>
                    <a:pt x="126" y="48"/>
                  </a:lnTo>
                  <a:lnTo>
                    <a:pt x="146" y="56"/>
                  </a:lnTo>
                  <a:lnTo>
                    <a:pt x="160" y="52"/>
                  </a:lnTo>
                  <a:lnTo>
                    <a:pt x="162" y="56"/>
                  </a:lnTo>
                  <a:lnTo>
                    <a:pt x="158" y="60"/>
                  </a:lnTo>
                  <a:lnTo>
                    <a:pt x="160" y="64"/>
                  </a:lnTo>
                  <a:lnTo>
                    <a:pt x="164" y="62"/>
                  </a:lnTo>
                  <a:lnTo>
                    <a:pt x="164" y="66"/>
                  </a:lnTo>
                  <a:lnTo>
                    <a:pt x="170" y="66"/>
                  </a:lnTo>
                  <a:lnTo>
                    <a:pt x="166" y="72"/>
                  </a:lnTo>
                  <a:lnTo>
                    <a:pt x="174" y="76"/>
                  </a:lnTo>
                  <a:lnTo>
                    <a:pt x="176" y="86"/>
                  </a:lnTo>
                  <a:lnTo>
                    <a:pt x="194" y="86"/>
                  </a:lnTo>
                  <a:lnTo>
                    <a:pt x="206" y="94"/>
                  </a:lnTo>
                  <a:lnTo>
                    <a:pt x="202" y="106"/>
                  </a:lnTo>
                  <a:lnTo>
                    <a:pt x="210" y="112"/>
                  </a:lnTo>
                  <a:lnTo>
                    <a:pt x="228" y="114"/>
                  </a:lnTo>
                  <a:lnTo>
                    <a:pt x="234" y="120"/>
                  </a:lnTo>
                  <a:lnTo>
                    <a:pt x="244" y="124"/>
                  </a:lnTo>
                  <a:lnTo>
                    <a:pt x="250" y="126"/>
                  </a:lnTo>
                  <a:lnTo>
                    <a:pt x="254" y="132"/>
                  </a:lnTo>
                  <a:lnTo>
                    <a:pt x="256" y="140"/>
                  </a:lnTo>
                  <a:lnTo>
                    <a:pt x="258" y="148"/>
                  </a:lnTo>
                  <a:lnTo>
                    <a:pt x="250" y="152"/>
                  </a:lnTo>
                  <a:lnTo>
                    <a:pt x="250" y="166"/>
                  </a:lnTo>
                  <a:lnTo>
                    <a:pt x="250" y="172"/>
                  </a:lnTo>
                  <a:lnTo>
                    <a:pt x="248" y="184"/>
                  </a:lnTo>
                  <a:lnTo>
                    <a:pt x="252" y="188"/>
                  </a:lnTo>
                  <a:lnTo>
                    <a:pt x="266" y="188"/>
                  </a:lnTo>
                  <a:lnTo>
                    <a:pt x="288" y="196"/>
                  </a:lnTo>
                  <a:lnTo>
                    <a:pt x="298" y="192"/>
                  </a:lnTo>
                  <a:lnTo>
                    <a:pt x="306" y="198"/>
                  </a:lnTo>
                  <a:lnTo>
                    <a:pt x="320" y="200"/>
                  </a:lnTo>
                  <a:lnTo>
                    <a:pt x="330" y="208"/>
                  </a:lnTo>
                  <a:lnTo>
                    <a:pt x="344" y="212"/>
                  </a:lnTo>
                  <a:lnTo>
                    <a:pt x="332" y="184"/>
                  </a:lnTo>
                  <a:lnTo>
                    <a:pt x="316" y="174"/>
                  </a:lnTo>
                  <a:lnTo>
                    <a:pt x="324" y="172"/>
                  </a:lnTo>
                  <a:lnTo>
                    <a:pt x="324" y="170"/>
                  </a:lnTo>
                  <a:lnTo>
                    <a:pt x="312" y="140"/>
                  </a:lnTo>
                  <a:lnTo>
                    <a:pt x="308" y="92"/>
                  </a:lnTo>
                  <a:lnTo>
                    <a:pt x="300" y="78"/>
                  </a:lnTo>
                  <a:lnTo>
                    <a:pt x="332" y="46"/>
                  </a:lnTo>
                  <a:lnTo>
                    <a:pt x="340" y="24"/>
                  </a:lnTo>
                  <a:lnTo>
                    <a:pt x="344" y="22"/>
                  </a:lnTo>
                  <a:lnTo>
                    <a:pt x="348" y="26"/>
                  </a:lnTo>
                  <a:lnTo>
                    <a:pt x="350" y="30"/>
                  </a:lnTo>
                  <a:lnTo>
                    <a:pt x="350" y="40"/>
                  </a:lnTo>
                  <a:lnTo>
                    <a:pt x="346" y="48"/>
                  </a:lnTo>
                  <a:lnTo>
                    <a:pt x="338" y="54"/>
                  </a:lnTo>
                  <a:lnTo>
                    <a:pt x="334" y="66"/>
                  </a:lnTo>
                  <a:lnTo>
                    <a:pt x="334" y="74"/>
                  </a:lnTo>
                  <a:lnTo>
                    <a:pt x="340" y="84"/>
                  </a:lnTo>
                  <a:lnTo>
                    <a:pt x="340" y="90"/>
                  </a:lnTo>
                  <a:lnTo>
                    <a:pt x="330" y="108"/>
                  </a:lnTo>
                  <a:lnTo>
                    <a:pt x="334" y="112"/>
                  </a:lnTo>
                  <a:lnTo>
                    <a:pt x="344" y="110"/>
                  </a:lnTo>
                  <a:lnTo>
                    <a:pt x="348" y="114"/>
                  </a:lnTo>
                  <a:lnTo>
                    <a:pt x="354" y="140"/>
                  </a:lnTo>
                  <a:lnTo>
                    <a:pt x="348" y="148"/>
                  </a:lnTo>
                  <a:lnTo>
                    <a:pt x="344" y="154"/>
                  </a:lnTo>
                  <a:lnTo>
                    <a:pt x="344" y="164"/>
                  </a:lnTo>
                  <a:lnTo>
                    <a:pt x="350" y="174"/>
                  </a:lnTo>
                  <a:lnTo>
                    <a:pt x="364" y="186"/>
                  </a:lnTo>
                  <a:lnTo>
                    <a:pt x="378" y="182"/>
                  </a:lnTo>
                  <a:lnTo>
                    <a:pt x="386" y="184"/>
                  </a:lnTo>
                  <a:lnTo>
                    <a:pt x="398" y="202"/>
                  </a:lnTo>
                  <a:lnTo>
                    <a:pt x="402" y="214"/>
                  </a:lnTo>
                  <a:lnTo>
                    <a:pt x="406" y="218"/>
                  </a:lnTo>
                  <a:lnTo>
                    <a:pt x="450" y="200"/>
                  </a:lnTo>
                  <a:lnTo>
                    <a:pt x="446" y="184"/>
                  </a:lnTo>
                  <a:lnTo>
                    <a:pt x="456" y="160"/>
                  </a:lnTo>
                  <a:lnTo>
                    <a:pt x="456" y="144"/>
                  </a:lnTo>
                  <a:lnTo>
                    <a:pt x="392" y="158"/>
                  </a:lnTo>
                  <a:lnTo>
                    <a:pt x="352" y="0"/>
                  </a:lnTo>
                  <a:lnTo>
                    <a:pt x="352" y="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0" name="Freeform 247"/>
            <p:cNvSpPr>
              <a:spLocks/>
            </p:cNvSpPr>
            <p:nvPr/>
          </p:nvSpPr>
          <p:spPr bwMode="auto">
            <a:xfrm>
              <a:off x="5863828" y="3228400"/>
              <a:ext cx="642938" cy="681038"/>
            </a:xfrm>
            <a:custGeom>
              <a:avLst/>
              <a:gdLst>
                <a:gd name="T0" fmla="*/ 498 w 540"/>
                <a:gd name="T1" fmla="*/ 518 h 572"/>
                <a:gd name="T2" fmla="*/ 494 w 540"/>
                <a:gd name="T3" fmla="*/ 488 h 572"/>
                <a:gd name="T4" fmla="*/ 534 w 540"/>
                <a:gd name="T5" fmla="*/ 346 h 572"/>
                <a:gd name="T6" fmla="*/ 540 w 540"/>
                <a:gd name="T7" fmla="*/ 344 h 572"/>
                <a:gd name="T8" fmla="*/ 512 w 540"/>
                <a:gd name="T9" fmla="*/ 336 h 572"/>
                <a:gd name="T10" fmla="*/ 510 w 540"/>
                <a:gd name="T11" fmla="*/ 312 h 572"/>
                <a:gd name="T12" fmla="*/ 494 w 540"/>
                <a:gd name="T13" fmla="*/ 288 h 572"/>
                <a:gd name="T14" fmla="*/ 476 w 540"/>
                <a:gd name="T15" fmla="*/ 280 h 572"/>
                <a:gd name="T16" fmla="*/ 474 w 540"/>
                <a:gd name="T17" fmla="*/ 262 h 572"/>
                <a:gd name="T18" fmla="*/ 460 w 540"/>
                <a:gd name="T19" fmla="*/ 238 h 572"/>
                <a:gd name="T20" fmla="*/ 460 w 540"/>
                <a:gd name="T21" fmla="*/ 232 h 572"/>
                <a:gd name="T22" fmla="*/ 428 w 540"/>
                <a:gd name="T23" fmla="*/ 216 h 572"/>
                <a:gd name="T24" fmla="*/ 428 w 540"/>
                <a:gd name="T25" fmla="*/ 210 h 572"/>
                <a:gd name="T26" fmla="*/ 418 w 540"/>
                <a:gd name="T27" fmla="*/ 206 h 572"/>
                <a:gd name="T28" fmla="*/ 418 w 540"/>
                <a:gd name="T29" fmla="*/ 198 h 572"/>
                <a:gd name="T30" fmla="*/ 406 w 540"/>
                <a:gd name="T31" fmla="*/ 194 h 572"/>
                <a:gd name="T32" fmla="*/ 406 w 540"/>
                <a:gd name="T33" fmla="*/ 180 h 572"/>
                <a:gd name="T34" fmla="*/ 374 w 540"/>
                <a:gd name="T35" fmla="*/ 160 h 572"/>
                <a:gd name="T36" fmla="*/ 374 w 540"/>
                <a:gd name="T37" fmla="*/ 160 h 572"/>
                <a:gd name="T38" fmla="*/ 362 w 540"/>
                <a:gd name="T39" fmla="*/ 142 h 572"/>
                <a:gd name="T40" fmla="*/ 332 w 540"/>
                <a:gd name="T41" fmla="*/ 128 h 572"/>
                <a:gd name="T42" fmla="*/ 328 w 540"/>
                <a:gd name="T43" fmla="*/ 120 h 572"/>
                <a:gd name="T44" fmla="*/ 328 w 540"/>
                <a:gd name="T45" fmla="*/ 120 h 572"/>
                <a:gd name="T46" fmla="*/ 310 w 540"/>
                <a:gd name="T47" fmla="*/ 102 h 572"/>
                <a:gd name="T48" fmla="*/ 298 w 540"/>
                <a:gd name="T49" fmla="*/ 80 h 572"/>
                <a:gd name="T50" fmla="*/ 298 w 540"/>
                <a:gd name="T51" fmla="*/ 80 h 572"/>
                <a:gd name="T52" fmla="*/ 290 w 540"/>
                <a:gd name="T53" fmla="*/ 66 h 572"/>
                <a:gd name="T54" fmla="*/ 276 w 540"/>
                <a:gd name="T55" fmla="*/ 68 h 572"/>
                <a:gd name="T56" fmla="*/ 238 w 540"/>
                <a:gd name="T57" fmla="*/ 42 h 572"/>
                <a:gd name="T58" fmla="*/ 248 w 540"/>
                <a:gd name="T59" fmla="*/ 20 h 572"/>
                <a:gd name="T60" fmla="*/ 258 w 540"/>
                <a:gd name="T61" fmla="*/ 12 h 572"/>
                <a:gd name="T62" fmla="*/ 260 w 540"/>
                <a:gd name="T63" fmla="*/ 0 h 572"/>
                <a:gd name="T64" fmla="*/ 0 w 540"/>
                <a:gd name="T65" fmla="*/ 30 h 572"/>
                <a:gd name="T66" fmla="*/ 84 w 540"/>
                <a:gd name="T67" fmla="*/ 324 h 572"/>
                <a:gd name="T68" fmla="*/ 102 w 540"/>
                <a:gd name="T69" fmla="*/ 350 h 572"/>
                <a:gd name="T70" fmla="*/ 100 w 540"/>
                <a:gd name="T71" fmla="*/ 362 h 572"/>
                <a:gd name="T72" fmla="*/ 112 w 540"/>
                <a:gd name="T73" fmla="*/ 368 h 572"/>
                <a:gd name="T74" fmla="*/ 96 w 540"/>
                <a:gd name="T75" fmla="*/ 388 h 572"/>
                <a:gd name="T76" fmla="*/ 96 w 540"/>
                <a:gd name="T77" fmla="*/ 418 h 572"/>
                <a:gd name="T78" fmla="*/ 104 w 540"/>
                <a:gd name="T79" fmla="*/ 440 h 572"/>
                <a:gd name="T80" fmla="*/ 104 w 540"/>
                <a:gd name="T81" fmla="*/ 510 h 572"/>
                <a:gd name="T82" fmla="*/ 124 w 540"/>
                <a:gd name="T83" fmla="*/ 552 h 572"/>
                <a:gd name="T84" fmla="*/ 136 w 540"/>
                <a:gd name="T85" fmla="*/ 564 h 572"/>
                <a:gd name="T86" fmla="*/ 424 w 540"/>
                <a:gd name="T87" fmla="*/ 548 h 572"/>
                <a:gd name="T88" fmla="*/ 428 w 540"/>
                <a:gd name="T89" fmla="*/ 566 h 572"/>
                <a:gd name="T90" fmla="*/ 434 w 540"/>
                <a:gd name="T91" fmla="*/ 572 h 572"/>
                <a:gd name="T92" fmla="*/ 446 w 540"/>
                <a:gd name="T93" fmla="*/ 570 h 572"/>
                <a:gd name="T94" fmla="*/ 448 w 540"/>
                <a:gd name="T95" fmla="*/ 546 h 572"/>
                <a:gd name="T96" fmla="*/ 440 w 540"/>
                <a:gd name="T97" fmla="*/ 524 h 572"/>
                <a:gd name="T98" fmla="*/ 448 w 540"/>
                <a:gd name="T99" fmla="*/ 514 h 572"/>
                <a:gd name="T100" fmla="*/ 498 w 540"/>
                <a:gd name="T101" fmla="*/ 518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0" h="572">
                  <a:moveTo>
                    <a:pt x="498" y="518"/>
                  </a:moveTo>
                  <a:lnTo>
                    <a:pt x="494" y="488"/>
                  </a:lnTo>
                  <a:lnTo>
                    <a:pt x="534" y="346"/>
                  </a:lnTo>
                  <a:lnTo>
                    <a:pt x="540" y="344"/>
                  </a:lnTo>
                  <a:lnTo>
                    <a:pt x="512" y="336"/>
                  </a:lnTo>
                  <a:lnTo>
                    <a:pt x="510" y="312"/>
                  </a:lnTo>
                  <a:lnTo>
                    <a:pt x="494" y="288"/>
                  </a:lnTo>
                  <a:lnTo>
                    <a:pt x="476" y="280"/>
                  </a:lnTo>
                  <a:lnTo>
                    <a:pt x="474" y="262"/>
                  </a:lnTo>
                  <a:lnTo>
                    <a:pt x="460" y="238"/>
                  </a:lnTo>
                  <a:lnTo>
                    <a:pt x="460" y="232"/>
                  </a:lnTo>
                  <a:lnTo>
                    <a:pt x="428" y="216"/>
                  </a:lnTo>
                  <a:lnTo>
                    <a:pt x="428" y="210"/>
                  </a:lnTo>
                  <a:lnTo>
                    <a:pt x="418" y="206"/>
                  </a:lnTo>
                  <a:lnTo>
                    <a:pt x="418" y="198"/>
                  </a:lnTo>
                  <a:lnTo>
                    <a:pt x="406" y="194"/>
                  </a:lnTo>
                  <a:lnTo>
                    <a:pt x="406" y="180"/>
                  </a:lnTo>
                  <a:lnTo>
                    <a:pt x="374" y="160"/>
                  </a:lnTo>
                  <a:lnTo>
                    <a:pt x="374" y="160"/>
                  </a:lnTo>
                  <a:lnTo>
                    <a:pt x="362" y="142"/>
                  </a:lnTo>
                  <a:lnTo>
                    <a:pt x="332" y="128"/>
                  </a:lnTo>
                  <a:lnTo>
                    <a:pt x="328" y="120"/>
                  </a:lnTo>
                  <a:lnTo>
                    <a:pt x="328" y="120"/>
                  </a:lnTo>
                  <a:lnTo>
                    <a:pt x="310" y="102"/>
                  </a:lnTo>
                  <a:lnTo>
                    <a:pt x="298" y="80"/>
                  </a:lnTo>
                  <a:lnTo>
                    <a:pt x="298" y="80"/>
                  </a:lnTo>
                  <a:lnTo>
                    <a:pt x="290" y="66"/>
                  </a:lnTo>
                  <a:lnTo>
                    <a:pt x="276" y="68"/>
                  </a:lnTo>
                  <a:lnTo>
                    <a:pt x="238" y="42"/>
                  </a:lnTo>
                  <a:lnTo>
                    <a:pt x="248" y="20"/>
                  </a:lnTo>
                  <a:lnTo>
                    <a:pt x="258" y="12"/>
                  </a:lnTo>
                  <a:lnTo>
                    <a:pt x="260" y="0"/>
                  </a:lnTo>
                  <a:lnTo>
                    <a:pt x="0" y="30"/>
                  </a:lnTo>
                  <a:lnTo>
                    <a:pt x="84" y="324"/>
                  </a:lnTo>
                  <a:lnTo>
                    <a:pt x="102" y="350"/>
                  </a:lnTo>
                  <a:lnTo>
                    <a:pt x="100" y="362"/>
                  </a:lnTo>
                  <a:lnTo>
                    <a:pt x="112" y="368"/>
                  </a:lnTo>
                  <a:lnTo>
                    <a:pt x="96" y="388"/>
                  </a:lnTo>
                  <a:lnTo>
                    <a:pt x="96" y="418"/>
                  </a:lnTo>
                  <a:lnTo>
                    <a:pt x="104" y="440"/>
                  </a:lnTo>
                  <a:lnTo>
                    <a:pt x="104" y="510"/>
                  </a:lnTo>
                  <a:lnTo>
                    <a:pt x="124" y="552"/>
                  </a:lnTo>
                  <a:lnTo>
                    <a:pt x="136" y="564"/>
                  </a:lnTo>
                  <a:lnTo>
                    <a:pt x="424" y="548"/>
                  </a:lnTo>
                  <a:lnTo>
                    <a:pt x="428" y="566"/>
                  </a:lnTo>
                  <a:lnTo>
                    <a:pt x="434" y="572"/>
                  </a:lnTo>
                  <a:lnTo>
                    <a:pt x="446" y="570"/>
                  </a:lnTo>
                  <a:lnTo>
                    <a:pt x="448" y="546"/>
                  </a:lnTo>
                  <a:lnTo>
                    <a:pt x="440" y="524"/>
                  </a:lnTo>
                  <a:lnTo>
                    <a:pt x="448" y="514"/>
                  </a:lnTo>
                  <a:lnTo>
                    <a:pt x="498" y="518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bg2">
                  <a:lumMod val="2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1" name="Freeform 248"/>
            <p:cNvSpPr>
              <a:spLocks/>
            </p:cNvSpPr>
            <p:nvPr/>
          </p:nvSpPr>
          <p:spPr bwMode="auto">
            <a:xfrm>
              <a:off x="2231231" y="2790250"/>
              <a:ext cx="809625" cy="952500"/>
            </a:xfrm>
            <a:custGeom>
              <a:avLst/>
              <a:gdLst>
                <a:gd name="T0" fmla="*/ 260 w 680"/>
                <a:gd name="T1" fmla="*/ 16 h 800"/>
                <a:gd name="T2" fmla="*/ 680 w 680"/>
                <a:gd name="T3" fmla="*/ 88 h 800"/>
                <a:gd name="T4" fmla="*/ 574 w 680"/>
                <a:gd name="T5" fmla="*/ 800 h 800"/>
                <a:gd name="T6" fmla="*/ 372 w 680"/>
                <a:gd name="T7" fmla="*/ 766 h 800"/>
                <a:gd name="T8" fmla="*/ 0 w 680"/>
                <a:gd name="T9" fmla="*/ 540 h 800"/>
                <a:gd name="T10" fmla="*/ 0 w 680"/>
                <a:gd name="T11" fmla="*/ 528 h 800"/>
                <a:gd name="T12" fmla="*/ 12 w 680"/>
                <a:gd name="T13" fmla="*/ 518 h 800"/>
                <a:gd name="T14" fmla="*/ 26 w 680"/>
                <a:gd name="T15" fmla="*/ 524 h 800"/>
                <a:gd name="T16" fmla="*/ 38 w 680"/>
                <a:gd name="T17" fmla="*/ 508 h 800"/>
                <a:gd name="T18" fmla="*/ 40 w 680"/>
                <a:gd name="T19" fmla="*/ 494 h 800"/>
                <a:gd name="T20" fmla="*/ 20 w 680"/>
                <a:gd name="T21" fmla="*/ 476 h 800"/>
                <a:gd name="T22" fmla="*/ 26 w 680"/>
                <a:gd name="T23" fmla="*/ 460 h 800"/>
                <a:gd name="T24" fmla="*/ 22 w 680"/>
                <a:gd name="T25" fmla="*/ 448 h 800"/>
                <a:gd name="T26" fmla="*/ 24 w 680"/>
                <a:gd name="T27" fmla="*/ 436 h 800"/>
                <a:gd name="T28" fmla="*/ 34 w 680"/>
                <a:gd name="T29" fmla="*/ 436 h 800"/>
                <a:gd name="T30" fmla="*/ 50 w 680"/>
                <a:gd name="T31" fmla="*/ 420 h 800"/>
                <a:gd name="T32" fmla="*/ 52 w 680"/>
                <a:gd name="T33" fmla="*/ 404 h 800"/>
                <a:gd name="T34" fmla="*/ 58 w 680"/>
                <a:gd name="T35" fmla="*/ 400 h 800"/>
                <a:gd name="T36" fmla="*/ 60 w 680"/>
                <a:gd name="T37" fmla="*/ 370 h 800"/>
                <a:gd name="T38" fmla="*/ 72 w 680"/>
                <a:gd name="T39" fmla="*/ 364 h 800"/>
                <a:gd name="T40" fmla="*/ 78 w 680"/>
                <a:gd name="T41" fmla="*/ 354 h 800"/>
                <a:gd name="T42" fmla="*/ 110 w 680"/>
                <a:gd name="T43" fmla="*/ 340 h 800"/>
                <a:gd name="T44" fmla="*/ 102 w 680"/>
                <a:gd name="T45" fmla="*/ 314 h 800"/>
                <a:gd name="T46" fmla="*/ 90 w 680"/>
                <a:gd name="T47" fmla="*/ 302 h 800"/>
                <a:gd name="T48" fmla="*/ 74 w 680"/>
                <a:gd name="T49" fmla="*/ 254 h 800"/>
                <a:gd name="T50" fmla="*/ 80 w 680"/>
                <a:gd name="T51" fmla="*/ 222 h 800"/>
                <a:gd name="T52" fmla="*/ 86 w 680"/>
                <a:gd name="T53" fmla="*/ 220 h 800"/>
                <a:gd name="T54" fmla="*/ 88 w 680"/>
                <a:gd name="T55" fmla="*/ 146 h 800"/>
                <a:gd name="T56" fmla="*/ 96 w 680"/>
                <a:gd name="T57" fmla="*/ 128 h 800"/>
                <a:gd name="T58" fmla="*/ 92 w 680"/>
                <a:gd name="T59" fmla="*/ 118 h 800"/>
                <a:gd name="T60" fmla="*/ 98 w 680"/>
                <a:gd name="T61" fmla="*/ 108 h 800"/>
                <a:gd name="T62" fmla="*/ 114 w 680"/>
                <a:gd name="T63" fmla="*/ 96 h 800"/>
                <a:gd name="T64" fmla="*/ 124 w 680"/>
                <a:gd name="T65" fmla="*/ 102 h 800"/>
                <a:gd name="T66" fmla="*/ 132 w 680"/>
                <a:gd name="T67" fmla="*/ 102 h 800"/>
                <a:gd name="T68" fmla="*/ 140 w 680"/>
                <a:gd name="T69" fmla="*/ 118 h 800"/>
                <a:gd name="T70" fmla="*/ 148 w 680"/>
                <a:gd name="T71" fmla="*/ 120 h 800"/>
                <a:gd name="T72" fmla="*/ 154 w 680"/>
                <a:gd name="T73" fmla="*/ 118 h 800"/>
                <a:gd name="T74" fmla="*/ 166 w 680"/>
                <a:gd name="T75" fmla="*/ 102 h 800"/>
                <a:gd name="T76" fmla="*/ 186 w 680"/>
                <a:gd name="T77" fmla="*/ 0 h 800"/>
                <a:gd name="T78" fmla="*/ 260 w 680"/>
                <a:gd name="T79" fmla="*/ 16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80" h="800">
                  <a:moveTo>
                    <a:pt x="260" y="16"/>
                  </a:moveTo>
                  <a:lnTo>
                    <a:pt x="680" y="88"/>
                  </a:lnTo>
                  <a:lnTo>
                    <a:pt x="574" y="800"/>
                  </a:lnTo>
                  <a:lnTo>
                    <a:pt x="372" y="766"/>
                  </a:lnTo>
                  <a:lnTo>
                    <a:pt x="0" y="540"/>
                  </a:lnTo>
                  <a:lnTo>
                    <a:pt x="0" y="528"/>
                  </a:lnTo>
                  <a:lnTo>
                    <a:pt x="12" y="518"/>
                  </a:lnTo>
                  <a:lnTo>
                    <a:pt x="26" y="524"/>
                  </a:lnTo>
                  <a:lnTo>
                    <a:pt x="38" y="508"/>
                  </a:lnTo>
                  <a:lnTo>
                    <a:pt x="40" y="494"/>
                  </a:lnTo>
                  <a:lnTo>
                    <a:pt x="20" y="476"/>
                  </a:lnTo>
                  <a:lnTo>
                    <a:pt x="26" y="460"/>
                  </a:lnTo>
                  <a:lnTo>
                    <a:pt x="22" y="448"/>
                  </a:lnTo>
                  <a:lnTo>
                    <a:pt x="24" y="436"/>
                  </a:lnTo>
                  <a:lnTo>
                    <a:pt x="34" y="436"/>
                  </a:lnTo>
                  <a:lnTo>
                    <a:pt x="50" y="420"/>
                  </a:lnTo>
                  <a:lnTo>
                    <a:pt x="52" y="404"/>
                  </a:lnTo>
                  <a:lnTo>
                    <a:pt x="58" y="400"/>
                  </a:lnTo>
                  <a:lnTo>
                    <a:pt x="60" y="370"/>
                  </a:lnTo>
                  <a:lnTo>
                    <a:pt x="72" y="364"/>
                  </a:lnTo>
                  <a:lnTo>
                    <a:pt x="78" y="354"/>
                  </a:lnTo>
                  <a:lnTo>
                    <a:pt x="110" y="340"/>
                  </a:lnTo>
                  <a:lnTo>
                    <a:pt x="102" y="314"/>
                  </a:lnTo>
                  <a:lnTo>
                    <a:pt x="90" y="302"/>
                  </a:lnTo>
                  <a:lnTo>
                    <a:pt x="74" y="254"/>
                  </a:lnTo>
                  <a:lnTo>
                    <a:pt x="80" y="222"/>
                  </a:lnTo>
                  <a:lnTo>
                    <a:pt x="86" y="220"/>
                  </a:lnTo>
                  <a:lnTo>
                    <a:pt x="88" y="146"/>
                  </a:lnTo>
                  <a:lnTo>
                    <a:pt x="96" y="128"/>
                  </a:lnTo>
                  <a:lnTo>
                    <a:pt x="92" y="118"/>
                  </a:lnTo>
                  <a:lnTo>
                    <a:pt x="98" y="108"/>
                  </a:lnTo>
                  <a:lnTo>
                    <a:pt x="114" y="96"/>
                  </a:lnTo>
                  <a:lnTo>
                    <a:pt x="124" y="102"/>
                  </a:lnTo>
                  <a:lnTo>
                    <a:pt x="132" y="102"/>
                  </a:lnTo>
                  <a:lnTo>
                    <a:pt x="140" y="118"/>
                  </a:lnTo>
                  <a:lnTo>
                    <a:pt x="148" y="120"/>
                  </a:lnTo>
                  <a:lnTo>
                    <a:pt x="154" y="118"/>
                  </a:lnTo>
                  <a:lnTo>
                    <a:pt x="166" y="102"/>
                  </a:lnTo>
                  <a:lnTo>
                    <a:pt x="186" y="0"/>
                  </a:lnTo>
                  <a:lnTo>
                    <a:pt x="260" y="1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2" name="Freeform 249"/>
            <p:cNvSpPr>
              <a:spLocks/>
            </p:cNvSpPr>
            <p:nvPr/>
          </p:nvSpPr>
          <p:spPr bwMode="auto">
            <a:xfrm>
              <a:off x="5144692" y="3290313"/>
              <a:ext cx="428625" cy="728663"/>
            </a:xfrm>
            <a:custGeom>
              <a:avLst/>
              <a:gdLst>
                <a:gd name="T0" fmla="*/ 360 w 360"/>
                <a:gd name="T1" fmla="*/ 588 h 612"/>
                <a:gd name="T2" fmla="*/ 294 w 360"/>
                <a:gd name="T3" fmla="*/ 588 h 612"/>
                <a:gd name="T4" fmla="*/ 270 w 360"/>
                <a:gd name="T5" fmla="*/ 602 h 612"/>
                <a:gd name="T6" fmla="*/ 254 w 360"/>
                <a:gd name="T7" fmla="*/ 598 h 612"/>
                <a:gd name="T8" fmla="*/ 230 w 360"/>
                <a:gd name="T9" fmla="*/ 612 h 612"/>
                <a:gd name="T10" fmla="*/ 220 w 360"/>
                <a:gd name="T11" fmla="*/ 586 h 612"/>
                <a:gd name="T12" fmla="*/ 206 w 360"/>
                <a:gd name="T13" fmla="*/ 574 h 612"/>
                <a:gd name="T14" fmla="*/ 200 w 360"/>
                <a:gd name="T15" fmla="*/ 562 h 612"/>
                <a:gd name="T16" fmla="*/ 210 w 360"/>
                <a:gd name="T17" fmla="*/ 520 h 612"/>
                <a:gd name="T18" fmla="*/ 2 w 360"/>
                <a:gd name="T19" fmla="*/ 528 h 612"/>
                <a:gd name="T20" fmla="*/ 2 w 360"/>
                <a:gd name="T21" fmla="*/ 530 h 612"/>
                <a:gd name="T22" fmla="*/ 10 w 360"/>
                <a:gd name="T23" fmla="*/ 520 h 612"/>
                <a:gd name="T24" fmla="*/ 0 w 360"/>
                <a:gd name="T25" fmla="*/ 496 h 612"/>
                <a:gd name="T26" fmla="*/ 14 w 360"/>
                <a:gd name="T27" fmla="*/ 490 h 612"/>
                <a:gd name="T28" fmla="*/ 18 w 360"/>
                <a:gd name="T29" fmla="*/ 478 h 612"/>
                <a:gd name="T30" fmla="*/ 14 w 360"/>
                <a:gd name="T31" fmla="*/ 464 h 612"/>
                <a:gd name="T32" fmla="*/ 24 w 360"/>
                <a:gd name="T33" fmla="*/ 454 h 612"/>
                <a:gd name="T34" fmla="*/ 30 w 360"/>
                <a:gd name="T35" fmla="*/ 424 h 612"/>
                <a:gd name="T36" fmla="*/ 58 w 360"/>
                <a:gd name="T37" fmla="*/ 398 h 612"/>
                <a:gd name="T38" fmla="*/ 56 w 360"/>
                <a:gd name="T39" fmla="*/ 382 h 612"/>
                <a:gd name="T40" fmla="*/ 64 w 360"/>
                <a:gd name="T41" fmla="*/ 382 h 612"/>
                <a:gd name="T42" fmla="*/ 76 w 360"/>
                <a:gd name="T43" fmla="*/ 358 h 612"/>
                <a:gd name="T44" fmla="*/ 54 w 360"/>
                <a:gd name="T45" fmla="*/ 342 h 612"/>
                <a:gd name="T46" fmla="*/ 54 w 360"/>
                <a:gd name="T47" fmla="*/ 330 h 612"/>
                <a:gd name="T48" fmla="*/ 46 w 360"/>
                <a:gd name="T49" fmla="*/ 318 h 612"/>
                <a:gd name="T50" fmla="*/ 56 w 360"/>
                <a:gd name="T51" fmla="*/ 312 h 612"/>
                <a:gd name="T52" fmla="*/ 46 w 360"/>
                <a:gd name="T53" fmla="*/ 304 h 612"/>
                <a:gd name="T54" fmla="*/ 54 w 360"/>
                <a:gd name="T55" fmla="*/ 282 h 612"/>
                <a:gd name="T56" fmla="*/ 44 w 360"/>
                <a:gd name="T57" fmla="*/ 278 h 612"/>
                <a:gd name="T58" fmla="*/ 46 w 360"/>
                <a:gd name="T59" fmla="*/ 272 h 612"/>
                <a:gd name="T60" fmla="*/ 44 w 360"/>
                <a:gd name="T61" fmla="*/ 258 h 612"/>
                <a:gd name="T62" fmla="*/ 50 w 360"/>
                <a:gd name="T63" fmla="*/ 252 h 612"/>
                <a:gd name="T64" fmla="*/ 50 w 360"/>
                <a:gd name="T65" fmla="*/ 240 h 612"/>
                <a:gd name="T66" fmla="*/ 42 w 360"/>
                <a:gd name="T67" fmla="*/ 234 h 612"/>
                <a:gd name="T68" fmla="*/ 46 w 360"/>
                <a:gd name="T69" fmla="*/ 214 h 612"/>
                <a:gd name="T70" fmla="*/ 34 w 360"/>
                <a:gd name="T71" fmla="*/ 204 h 612"/>
                <a:gd name="T72" fmla="*/ 42 w 360"/>
                <a:gd name="T73" fmla="*/ 200 h 612"/>
                <a:gd name="T74" fmla="*/ 42 w 360"/>
                <a:gd name="T75" fmla="*/ 194 h 612"/>
                <a:gd name="T76" fmla="*/ 34 w 360"/>
                <a:gd name="T77" fmla="*/ 188 h 612"/>
                <a:gd name="T78" fmla="*/ 50 w 360"/>
                <a:gd name="T79" fmla="*/ 172 h 612"/>
                <a:gd name="T80" fmla="*/ 54 w 360"/>
                <a:gd name="T81" fmla="*/ 154 h 612"/>
                <a:gd name="T82" fmla="*/ 48 w 360"/>
                <a:gd name="T83" fmla="*/ 148 h 612"/>
                <a:gd name="T84" fmla="*/ 68 w 360"/>
                <a:gd name="T85" fmla="*/ 140 h 612"/>
                <a:gd name="T86" fmla="*/ 68 w 360"/>
                <a:gd name="T87" fmla="*/ 132 h 612"/>
                <a:gd name="T88" fmla="*/ 60 w 360"/>
                <a:gd name="T89" fmla="*/ 126 h 612"/>
                <a:gd name="T90" fmla="*/ 70 w 360"/>
                <a:gd name="T91" fmla="*/ 120 h 612"/>
                <a:gd name="T92" fmla="*/ 72 w 360"/>
                <a:gd name="T93" fmla="*/ 110 h 612"/>
                <a:gd name="T94" fmla="*/ 78 w 360"/>
                <a:gd name="T95" fmla="*/ 110 h 612"/>
                <a:gd name="T96" fmla="*/ 78 w 360"/>
                <a:gd name="T97" fmla="*/ 98 h 612"/>
                <a:gd name="T98" fmla="*/ 98 w 360"/>
                <a:gd name="T99" fmla="*/ 90 h 612"/>
                <a:gd name="T100" fmla="*/ 94 w 360"/>
                <a:gd name="T101" fmla="*/ 64 h 612"/>
                <a:gd name="T102" fmla="*/ 98 w 360"/>
                <a:gd name="T103" fmla="*/ 50 h 612"/>
                <a:gd name="T104" fmla="*/ 108 w 360"/>
                <a:gd name="T105" fmla="*/ 50 h 612"/>
                <a:gd name="T106" fmla="*/ 108 w 360"/>
                <a:gd name="T107" fmla="*/ 40 h 612"/>
                <a:gd name="T108" fmla="*/ 126 w 360"/>
                <a:gd name="T109" fmla="*/ 26 h 612"/>
                <a:gd name="T110" fmla="*/ 122 w 360"/>
                <a:gd name="T111" fmla="*/ 14 h 612"/>
                <a:gd name="T112" fmla="*/ 340 w 360"/>
                <a:gd name="T113" fmla="*/ 0 h 612"/>
                <a:gd name="T114" fmla="*/ 352 w 360"/>
                <a:gd name="T115" fmla="*/ 14 h 612"/>
                <a:gd name="T116" fmla="*/ 360 w 360"/>
                <a:gd name="T117" fmla="*/ 588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0" h="612">
                  <a:moveTo>
                    <a:pt x="360" y="588"/>
                  </a:moveTo>
                  <a:lnTo>
                    <a:pt x="294" y="588"/>
                  </a:lnTo>
                  <a:lnTo>
                    <a:pt x="270" y="602"/>
                  </a:lnTo>
                  <a:lnTo>
                    <a:pt x="254" y="598"/>
                  </a:lnTo>
                  <a:lnTo>
                    <a:pt x="230" y="612"/>
                  </a:lnTo>
                  <a:lnTo>
                    <a:pt x="220" y="586"/>
                  </a:lnTo>
                  <a:lnTo>
                    <a:pt x="206" y="574"/>
                  </a:lnTo>
                  <a:lnTo>
                    <a:pt x="200" y="562"/>
                  </a:lnTo>
                  <a:lnTo>
                    <a:pt x="210" y="520"/>
                  </a:lnTo>
                  <a:lnTo>
                    <a:pt x="2" y="528"/>
                  </a:lnTo>
                  <a:lnTo>
                    <a:pt x="2" y="530"/>
                  </a:lnTo>
                  <a:lnTo>
                    <a:pt x="10" y="520"/>
                  </a:lnTo>
                  <a:lnTo>
                    <a:pt x="0" y="496"/>
                  </a:lnTo>
                  <a:lnTo>
                    <a:pt x="14" y="490"/>
                  </a:lnTo>
                  <a:lnTo>
                    <a:pt x="18" y="478"/>
                  </a:lnTo>
                  <a:lnTo>
                    <a:pt x="14" y="464"/>
                  </a:lnTo>
                  <a:lnTo>
                    <a:pt x="24" y="454"/>
                  </a:lnTo>
                  <a:lnTo>
                    <a:pt x="30" y="424"/>
                  </a:lnTo>
                  <a:lnTo>
                    <a:pt x="58" y="398"/>
                  </a:lnTo>
                  <a:lnTo>
                    <a:pt x="56" y="382"/>
                  </a:lnTo>
                  <a:lnTo>
                    <a:pt x="64" y="382"/>
                  </a:lnTo>
                  <a:lnTo>
                    <a:pt x="76" y="358"/>
                  </a:lnTo>
                  <a:lnTo>
                    <a:pt x="54" y="342"/>
                  </a:lnTo>
                  <a:lnTo>
                    <a:pt x="54" y="330"/>
                  </a:lnTo>
                  <a:lnTo>
                    <a:pt x="46" y="318"/>
                  </a:lnTo>
                  <a:lnTo>
                    <a:pt x="56" y="312"/>
                  </a:lnTo>
                  <a:lnTo>
                    <a:pt x="46" y="304"/>
                  </a:lnTo>
                  <a:lnTo>
                    <a:pt x="54" y="282"/>
                  </a:lnTo>
                  <a:lnTo>
                    <a:pt x="44" y="278"/>
                  </a:lnTo>
                  <a:lnTo>
                    <a:pt x="46" y="272"/>
                  </a:lnTo>
                  <a:lnTo>
                    <a:pt x="44" y="258"/>
                  </a:lnTo>
                  <a:lnTo>
                    <a:pt x="50" y="252"/>
                  </a:lnTo>
                  <a:lnTo>
                    <a:pt x="50" y="240"/>
                  </a:lnTo>
                  <a:lnTo>
                    <a:pt x="42" y="234"/>
                  </a:lnTo>
                  <a:lnTo>
                    <a:pt x="46" y="214"/>
                  </a:lnTo>
                  <a:lnTo>
                    <a:pt x="34" y="204"/>
                  </a:lnTo>
                  <a:lnTo>
                    <a:pt x="42" y="200"/>
                  </a:lnTo>
                  <a:lnTo>
                    <a:pt x="42" y="194"/>
                  </a:lnTo>
                  <a:lnTo>
                    <a:pt x="34" y="188"/>
                  </a:lnTo>
                  <a:lnTo>
                    <a:pt x="50" y="172"/>
                  </a:lnTo>
                  <a:lnTo>
                    <a:pt x="54" y="154"/>
                  </a:lnTo>
                  <a:lnTo>
                    <a:pt x="48" y="148"/>
                  </a:lnTo>
                  <a:lnTo>
                    <a:pt x="68" y="140"/>
                  </a:lnTo>
                  <a:lnTo>
                    <a:pt x="68" y="132"/>
                  </a:lnTo>
                  <a:lnTo>
                    <a:pt x="60" y="126"/>
                  </a:lnTo>
                  <a:lnTo>
                    <a:pt x="70" y="120"/>
                  </a:lnTo>
                  <a:lnTo>
                    <a:pt x="72" y="110"/>
                  </a:lnTo>
                  <a:lnTo>
                    <a:pt x="78" y="110"/>
                  </a:lnTo>
                  <a:lnTo>
                    <a:pt x="78" y="98"/>
                  </a:lnTo>
                  <a:lnTo>
                    <a:pt x="98" y="90"/>
                  </a:lnTo>
                  <a:lnTo>
                    <a:pt x="94" y="64"/>
                  </a:lnTo>
                  <a:lnTo>
                    <a:pt x="98" y="50"/>
                  </a:lnTo>
                  <a:lnTo>
                    <a:pt x="108" y="50"/>
                  </a:lnTo>
                  <a:lnTo>
                    <a:pt x="108" y="40"/>
                  </a:lnTo>
                  <a:lnTo>
                    <a:pt x="126" y="26"/>
                  </a:lnTo>
                  <a:lnTo>
                    <a:pt x="122" y="14"/>
                  </a:lnTo>
                  <a:lnTo>
                    <a:pt x="340" y="0"/>
                  </a:lnTo>
                  <a:lnTo>
                    <a:pt x="352" y="14"/>
                  </a:lnTo>
                  <a:lnTo>
                    <a:pt x="360" y="588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3" name="Freeform 250"/>
            <p:cNvSpPr>
              <a:spLocks/>
            </p:cNvSpPr>
            <p:nvPr/>
          </p:nvSpPr>
          <p:spPr bwMode="auto">
            <a:xfrm>
              <a:off x="3724276" y="1622246"/>
              <a:ext cx="834629" cy="561975"/>
            </a:xfrm>
            <a:custGeom>
              <a:avLst/>
              <a:gdLst>
                <a:gd name="T0" fmla="*/ 658 w 701"/>
                <a:gd name="T1" fmla="*/ 36 h 472"/>
                <a:gd name="T2" fmla="*/ 36 w 701"/>
                <a:gd name="T3" fmla="*/ 0 h 472"/>
                <a:gd name="T4" fmla="*/ 0 w 701"/>
                <a:gd name="T5" fmla="*/ 370 h 472"/>
                <a:gd name="T6" fmla="*/ 510 w 701"/>
                <a:gd name="T7" fmla="*/ 404 h 472"/>
                <a:gd name="T8" fmla="*/ 510 w 701"/>
                <a:gd name="T9" fmla="*/ 404 h 472"/>
                <a:gd name="T10" fmla="*/ 520 w 701"/>
                <a:gd name="T11" fmla="*/ 416 h 472"/>
                <a:gd name="T12" fmla="*/ 554 w 701"/>
                <a:gd name="T13" fmla="*/ 434 h 472"/>
                <a:gd name="T14" fmla="*/ 562 w 701"/>
                <a:gd name="T15" fmla="*/ 434 h 472"/>
                <a:gd name="T16" fmla="*/ 568 w 701"/>
                <a:gd name="T17" fmla="*/ 424 h 472"/>
                <a:gd name="T18" fmla="*/ 624 w 701"/>
                <a:gd name="T19" fmla="*/ 424 h 472"/>
                <a:gd name="T20" fmla="*/ 636 w 701"/>
                <a:gd name="T21" fmla="*/ 436 h 472"/>
                <a:gd name="T22" fmla="*/ 674 w 701"/>
                <a:gd name="T23" fmla="*/ 450 h 472"/>
                <a:gd name="T24" fmla="*/ 682 w 701"/>
                <a:gd name="T25" fmla="*/ 470 h 472"/>
                <a:gd name="T26" fmla="*/ 694 w 701"/>
                <a:gd name="T27" fmla="*/ 472 h 472"/>
                <a:gd name="T28" fmla="*/ 694 w 701"/>
                <a:gd name="T29" fmla="*/ 466 h 472"/>
                <a:gd name="T30" fmla="*/ 690 w 701"/>
                <a:gd name="T31" fmla="*/ 458 h 472"/>
                <a:gd name="T32" fmla="*/ 692 w 701"/>
                <a:gd name="T33" fmla="*/ 454 h 472"/>
                <a:gd name="T34" fmla="*/ 680 w 701"/>
                <a:gd name="T35" fmla="*/ 442 h 472"/>
                <a:gd name="T36" fmla="*/ 694 w 701"/>
                <a:gd name="T37" fmla="*/ 410 h 472"/>
                <a:gd name="T38" fmla="*/ 694 w 701"/>
                <a:gd name="T39" fmla="*/ 410 h 472"/>
                <a:gd name="T40" fmla="*/ 698 w 701"/>
                <a:gd name="T41" fmla="*/ 394 h 472"/>
                <a:gd name="T42" fmla="*/ 696 w 701"/>
                <a:gd name="T43" fmla="*/ 382 h 472"/>
                <a:gd name="T44" fmla="*/ 688 w 701"/>
                <a:gd name="T45" fmla="*/ 380 h 472"/>
                <a:gd name="T46" fmla="*/ 690 w 701"/>
                <a:gd name="T47" fmla="*/ 378 h 472"/>
                <a:gd name="T48" fmla="*/ 686 w 701"/>
                <a:gd name="T49" fmla="*/ 374 h 472"/>
                <a:gd name="T50" fmla="*/ 692 w 701"/>
                <a:gd name="T51" fmla="*/ 372 h 472"/>
                <a:gd name="T52" fmla="*/ 692 w 701"/>
                <a:gd name="T53" fmla="*/ 362 h 472"/>
                <a:gd name="T54" fmla="*/ 686 w 701"/>
                <a:gd name="T55" fmla="*/ 354 h 472"/>
                <a:gd name="T56" fmla="*/ 686 w 701"/>
                <a:gd name="T57" fmla="*/ 346 h 472"/>
                <a:gd name="T58" fmla="*/ 700 w 701"/>
                <a:gd name="T59" fmla="*/ 346 h 472"/>
                <a:gd name="T60" fmla="*/ 701 w 701"/>
                <a:gd name="T61" fmla="*/ 118 h 472"/>
                <a:gd name="T62" fmla="*/ 696 w 701"/>
                <a:gd name="T63" fmla="*/ 108 h 472"/>
                <a:gd name="T64" fmla="*/ 682 w 701"/>
                <a:gd name="T65" fmla="*/ 104 h 472"/>
                <a:gd name="T66" fmla="*/ 668 w 701"/>
                <a:gd name="T67" fmla="*/ 80 h 472"/>
                <a:gd name="T68" fmla="*/ 670 w 701"/>
                <a:gd name="T69" fmla="*/ 74 h 472"/>
                <a:gd name="T70" fmla="*/ 686 w 701"/>
                <a:gd name="T71" fmla="*/ 62 h 472"/>
                <a:gd name="T72" fmla="*/ 692 w 701"/>
                <a:gd name="T73" fmla="*/ 50 h 472"/>
                <a:gd name="T74" fmla="*/ 694 w 701"/>
                <a:gd name="T75" fmla="*/ 38 h 472"/>
                <a:gd name="T76" fmla="*/ 658 w 701"/>
                <a:gd name="T77" fmla="*/ 3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01" h="472">
                  <a:moveTo>
                    <a:pt x="658" y="36"/>
                  </a:moveTo>
                  <a:lnTo>
                    <a:pt x="36" y="0"/>
                  </a:lnTo>
                  <a:lnTo>
                    <a:pt x="0" y="370"/>
                  </a:lnTo>
                  <a:lnTo>
                    <a:pt x="510" y="404"/>
                  </a:lnTo>
                  <a:lnTo>
                    <a:pt x="510" y="404"/>
                  </a:lnTo>
                  <a:lnTo>
                    <a:pt x="520" y="416"/>
                  </a:lnTo>
                  <a:lnTo>
                    <a:pt x="554" y="434"/>
                  </a:lnTo>
                  <a:lnTo>
                    <a:pt x="562" y="434"/>
                  </a:lnTo>
                  <a:lnTo>
                    <a:pt x="568" y="424"/>
                  </a:lnTo>
                  <a:lnTo>
                    <a:pt x="624" y="424"/>
                  </a:lnTo>
                  <a:lnTo>
                    <a:pt x="636" y="436"/>
                  </a:lnTo>
                  <a:lnTo>
                    <a:pt x="674" y="450"/>
                  </a:lnTo>
                  <a:lnTo>
                    <a:pt x="682" y="470"/>
                  </a:lnTo>
                  <a:lnTo>
                    <a:pt x="694" y="472"/>
                  </a:lnTo>
                  <a:lnTo>
                    <a:pt x="694" y="466"/>
                  </a:lnTo>
                  <a:lnTo>
                    <a:pt x="690" y="458"/>
                  </a:lnTo>
                  <a:lnTo>
                    <a:pt x="692" y="454"/>
                  </a:lnTo>
                  <a:lnTo>
                    <a:pt x="680" y="442"/>
                  </a:lnTo>
                  <a:lnTo>
                    <a:pt x="694" y="410"/>
                  </a:lnTo>
                  <a:lnTo>
                    <a:pt x="694" y="410"/>
                  </a:lnTo>
                  <a:lnTo>
                    <a:pt x="698" y="394"/>
                  </a:lnTo>
                  <a:lnTo>
                    <a:pt x="696" y="382"/>
                  </a:lnTo>
                  <a:lnTo>
                    <a:pt x="688" y="380"/>
                  </a:lnTo>
                  <a:lnTo>
                    <a:pt x="690" y="378"/>
                  </a:lnTo>
                  <a:lnTo>
                    <a:pt x="686" y="374"/>
                  </a:lnTo>
                  <a:lnTo>
                    <a:pt x="692" y="372"/>
                  </a:lnTo>
                  <a:lnTo>
                    <a:pt x="692" y="362"/>
                  </a:lnTo>
                  <a:lnTo>
                    <a:pt x="686" y="354"/>
                  </a:lnTo>
                  <a:lnTo>
                    <a:pt x="686" y="346"/>
                  </a:lnTo>
                  <a:lnTo>
                    <a:pt x="700" y="346"/>
                  </a:lnTo>
                  <a:lnTo>
                    <a:pt x="701" y="118"/>
                  </a:lnTo>
                  <a:lnTo>
                    <a:pt x="696" y="108"/>
                  </a:lnTo>
                  <a:lnTo>
                    <a:pt x="682" y="104"/>
                  </a:lnTo>
                  <a:lnTo>
                    <a:pt x="668" y="80"/>
                  </a:lnTo>
                  <a:lnTo>
                    <a:pt x="670" y="74"/>
                  </a:lnTo>
                  <a:lnTo>
                    <a:pt x="686" y="62"/>
                  </a:lnTo>
                  <a:lnTo>
                    <a:pt x="692" y="50"/>
                  </a:lnTo>
                  <a:lnTo>
                    <a:pt x="694" y="38"/>
                  </a:lnTo>
                  <a:lnTo>
                    <a:pt x="658" y="36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4" name="Freeform 251"/>
            <p:cNvSpPr>
              <a:spLocks/>
            </p:cNvSpPr>
            <p:nvPr/>
          </p:nvSpPr>
          <p:spPr bwMode="auto">
            <a:xfrm>
              <a:off x="2278858" y="957878"/>
              <a:ext cx="716756" cy="1152525"/>
            </a:xfrm>
            <a:custGeom>
              <a:avLst/>
              <a:gdLst>
                <a:gd name="T0" fmla="*/ 272 w 602"/>
                <a:gd name="T1" fmla="*/ 918 h 968"/>
                <a:gd name="T2" fmla="*/ 602 w 602"/>
                <a:gd name="T3" fmla="*/ 656 h 968"/>
                <a:gd name="T4" fmla="*/ 584 w 602"/>
                <a:gd name="T5" fmla="*/ 624 h 968"/>
                <a:gd name="T6" fmla="*/ 570 w 602"/>
                <a:gd name="T7" fmla="*/ 624 h 968"/>
                <a:gd name="T8" fmla="*/ 564 w 602"/>
                <a:gd name="T9" fmla="*/ 636 h 968"/>
                <a:gd name="T10" fmla="*/ 548 w 602"/>
                <a:gd name="T11" fmla="*/ 638 h 968"/>
                <a:gd name="T12" fmla="*/ 530 w 602"/>
                <a:gd name="T13" fmla="*/ 636 h 968"/>
                <a:gd name="T14" fmla="*/ 498 w 602"/>
                <a:gd name="T15" fmla="*/ 628 h 968"/>
                <a:gd name="T16" fmla="*/ 482 w 602"/>
                <a:gd name="T17" fmla="*/ 640 h 968"/>
                <a:gd name="T18" fmla="*/ 450 w 602"/>
                <a:gd name="T19" fmla="*/ 630 h 968"/>
                <a:gd name="T20" fmla="*/ 444 w 602"/>
                <a:gd name="T21" fmla="*/ 642 h 968"/>
                <a:gd name="T22" fmla="*/ 428 w 602"/>
                <a:gd name="T23" fmla="*/ 630 h 968"/>
                <a:gd name="T24" fmla="*/ 424 w 602"/>
                <a:gd name="T25" fmla="*/ 610 h 968"/>
                <a:gd name="T26" fmla="*/ 424 w 602"/>
                <a:gd name="T27" fmla="*/ 588 h 968"/>
                <a:gd name="T28" fmla="*/ 406 w 602"/>
                <a:gd name="T29" fmla="*/ 582 h 968"/>
                <a:gd name="T30" fmla="*/ 396 w 602"/>
                <a:gd name="T31" fmla="*/ 562 h 968"/>
                <a:gd name="T32" fmla="*/ 402 w 602"/>
                <a:gd name="T33" fmla="*/ 552 h 968"/>
                <a:gd name="T34" fmla="*/ 394 w 602"/>
                <a:gd name="T35" fmla="*/ 538 h 968"/>
                <a:gd name="T36" fmla="*/ 386 w 602"/>
                <a:gd name="T37" fmla="*/ 512 h 968"/>
                <a:gd name="T38" fmla="*/ 384 w 602"/>
                <a:gd name="T39" fmla="*/ 496 h 968"/>
                <a:gd name="T40" fmla="*/ 382 w 602"/>
                <a:gd name="T41" fmla="*/ 482 h 968"/>
                <a:gd name="T42" fmla="*/ 372 w 602"/>
                <a:gd name="T43" fmla="*/ 458 h 968"/>
                <a:gd name="T44" fmla="*/ 358 w 602"/>
                <a:gd name="T45" fmla="*/ 472 h 968"/>
                <a:gd name="T46" fmla="*/ 338 w 602"/>
                <a:gd name="T47" fmla="*/ 480 h 968"/>
                <a:gd name="T48" fmla="*/ 320 w 602"/>
                <a:gd name="T49" fmla="*/ 464 h 968"/>
                <a:gd name="T50" fmla="*/ 324 w 602"/>
                <a:gd name="T51" fmla="*/ 438 h 968"/>
                <a:gd name="T52" fmla="*/ 340 w 602"/>
                <a:gd name="T53" fmla="*/ 422 h 968"/>
                <a:gd name="T54" fmla="*/ 336 w 602"/>
                <a:gd name="T55" fmla="*/ 412 h 968"/>
                <a:gd name="T56" fmla="*/ 338 w 602"/>
                <a:gd name="T57" fmla="*/ 392 h 968"/>
                <a:gd name="T58" fmla="*/ 346 w 602"/>
                <a:gd name="T59" fmla="*/ 380 h 968"/>
                <a:gd name="T60" fmla="*/ 356 w 602"/>
                <a:gd name="T61" fmla="*/ 352 h 968"/>
                <a:gd name="T62" fmla="*/ 366 w 602"/>
                <a:gd name="T63" fmla="*/ 334 h 968"/>
                <a:gd name="T64" fmla="*/ 340 w 602"/>
                <a:gd name="T65" fmla="*/ 326 h 968"/>
                <a:gd name="T66" fmla="*/ 340 w 602"/>
                <a:gd name="T67" fmla="*/ 316 h 968"/>
                <a:gd name="T68" fmla="*/ 332 w 602"/>
                <a:gd name="T69" fmla="*/ 312 h 968"/>
                <a:gd name="T70" fmla="*/ 322 w 602"/>
                <a:gd name="T71" fmla="*/ 290 h 968"/>
                <a:gd name="T72" fmla="*/ 298 w 602"/>
                <a:gd name="T73" fmla="*/ 242 h 968"/>
                <a:gd name="T74" fmla="*/ 278 w 602"/>
                <a:gd name="T75" fmla="*/ 222 h 968"/>
                <a:gd name="T76" fmla="*/ 276 w 602"/>
                <a:gd name="T77" fmla="*/ 208 h 968"/>
                <a:gd name="T78" fmla="*/ 276 w 602"/>
                <a:gd name="T79" fmla="*/ 192 h 968"/>
                <a:gd name="T80" fmla="*/ 256 w 602"/>
                <a:gd name="T81" fmla="*/ 138 h 968"/>
                <a:gd name="T82" fmla="*/ 202 w 602"/>
                <a:gd name="T83" fmla="*/ 0 h 968"/>
                <a:gd name="T84" fmla="*/ 132 w 602"/>
                <a:gd name="T85" fmla="*/ 346 h 968"/>
                <a:gd name="T86" fmla="*/ 134 w 602"/>
                <a:gd name="T87" fmla="*/ 390 h 968"/>
                <a:gd name="T88" fmla="*/ 154 w 602"/>
                <a:gd name="T89" fmla="*/ 424 h 968"/>
                <a:gd name="T90" fmla="*/ 120 w 602"/>
                <a:gd name="T91" fmla="*/ 472 h 968"/>
                <a:gd name="T92" fmla="*/ 102 w 602"/>
                <a:gd name="T93" fmla="*/ 500 h 968"/>
                <a:gd name="T94" fmla="*/ 80 w 602"/>
                <a:gd name="T95" fmla="*/ 518 h 968"/>
                <a:gd name="T96" fmla="*/ 52 w 602"/>
                <a:gd name="T97" fmla="*/ 570 h 968"/>
                <a:gd name="T98" fmla="*/ 76 w 602"/>
                <a:gd name="T99" fmla="*/ 592 h 968"/>
                <a:gd name="T100" fmla="*/ 68 w 602"/>
                <a:gd name="T101" fmla="*/ 610 h 968"/>
                <a:gd name="T102" fmla="*/ 0 w 602"/>
                <a:gd name="T103" fmla="*/ 858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02" h="968">
                  <a:moveTo>
                    <a:pt x="58" y="870"/>
                  </a:moveTo>
                  <a:lnTo>
                    <a:pt x="272" y="918"/>
                  </a:lnTo>
                  <a:lnTo>
                    <a:pt x="548" y="968"/>
                  </a:lnTo>
                  <a:lnTo>
                    <a:pt x="602" y="656"/>
                  </a:lnTo>
                  <a:lnTo>
                    <a:pt x="590" y="642"/>
                  </a:lnTo>
                  <a:lnTo>
                    <a:pt x="584" y="624"/>
                  </a:lnTo>
                  <a:lnTo>
                    <a:pt x="580" y="620"/>
                  </a:lnTo>
                  <a:lnTo>
                    <a:pt x="570" y="624"/>
                  </a:lnTo>
                  <a:lnTo>
                    <a:pt x="570" y="630"/>
                  </a:lnTo>
                  <a:lnTo>
                    <a:pt x="564" y="636"/>
                  </a:lnTo>
                  <a:lnTo>
                    <a:pt x="566" y="644"/>
                  </a:lnTo>
                  <a:lnTo>
                    <a:pt x="548" y="638"/>
                  </a:lnTo>
                  <a:lnTo>
                    <a:pt x="536" y="642"/>
                  </a:lnTo>
                  <a:lnTo>
                    <a:pt x="530" y="636"/>
                  </a:lnTo>
                  <a:lnTo>
                    <a:pt x="512" y="636"/>
                  </a:lnTo>
                  <a:lnTo>
                    <a:pt x="498" y="628"/>
                  </a:lnTo>
                  <a:lnTo>
                    <a:pt x="490" y="632"/>
                  </a:lnTo>
                  <a:lnTo>
                    <a:pt x="482" y="640"/>
                  </a:lnTo>
                  <a:lnTo>
                    <a:pt x="458" y="630"/>
                  </a:lnTo>
                  <a:lnTo>
                    <a:pt x="450" y="630"/>
                  </a:lnTo>
                  <a:lnTo>
                    <a:pt x="442" y="636"/>
                  </a:lnTo>
                  <a:lnTo>
                    <a:pt x="444" y="642"/>
                  </a:lnTo>
                  <a:lnTo>
                    <a:pt x="440" y="644"/>
                  </a:lnTo>
                  <a:lnTo>
                    <a:pt x="428" y="630"/>
                  </a:lnTo>
                  <a:lnTo>
                    <a:pt x="430" y="620"/>
                  </a:lnTo>
                  <a:lnTo>
                    <a:pt x="424" y="610"/>
                  </a:lnTo>
                  <a:lnTo>
                    <a:pt x="428" y="604"/>
                  </a:lnTo>
                  <a:lnTo>
                    <a:pt x="424" y="588"/>
                  </a:lnTo>
                  <a:lnTo>
                    <a:pt x="416" y="580"/>
                  </a:lnTo>
                  <a:lnTo>
                    <a:pt x="406" y="582"/>
                  </a:lnTo>
                  <a:lnTo>
                    <a:pt x="400" y="572"/>
                  </a:lnTo>
                  <a:lnTo>
                    <a:pt x="396" y="562"/>
                  </a:lnTo>
                  <a:lnTo>
                    <a:pt x="402" y="558"/>
                  </a:lnTo>
                  <a:lnTo>
                    <a:pt x="402" y="552"/>
                  </a:lnTo>
                  <a:lnTo>
                    <a:pt x="400" y="538"/>
                  </a:lnTo>
                  <a:lnTo>
                    <a:pt x="394" y="538"/>
                  </a:lnTo>
                  <a:lnTo>
                    <a:pt x="394" y="526"/>
                  </a:lnTo>
                  <a:lnTo>
                    <a:pt x="386" y="512"/>
                  </a:lnTo>
                  <a:lnTo>
                    <a:pt x="388" y="502"/>
                  </a:lnTo>
                  <a:lnTo>
                    <a:pt x="384" y="496"/>
                  </a:lnTo>
                  <a:lnTo>
                    <a:pt x="388" y="486"/>
                  </a:lnTo>
                  <a:lnTo>
                    <a:pt x="382" y="482"/>
                  </a:lnTo>
                  <a:lnTo>
                    <a:pt x="386" y="474"/>
                  </a:lnTo>
                  <a:lnTo>
                    <a:pt x="372" y="458"/>
                  </a:lnTo>
                  <a:lnTo>
                    <a:pt x="370" y="464"/>
                  </a:lnTo>
                  <a:lnTo>
                    <a:pt x="358" y="472"/>
                  </a:lnTo>
                  <a:lnTo>
                    <a:pt x="346" y="474"/>
                  </a:lnTo>
                  <a:lnTo>
                    <a:pt x="338" y="480"/>
                  </a:lnTo>
                  <a:lnTo>
                    <a:pt x="328" y="468"/>
                  </a:lnTo>
                  <a:lnTo>
                    <a:pt x="320" y="464"/>
                  </a:lnTo>
                  <a:lnTo>
                    <a:pt x="328" y="448"/>
                  </a:lnTo>
                  <a:lnTo>
                    <a:pt x="324" y="438"/>
                  </a:lnTo>
                  <a:lnTo>
                    <a:pt x="342" y="428"/>
                  </a:lnTo>
                  <a:lnTo>
                    <a:pt x="340" y="422"/>
                  </a:lnTo>
                  <a:lnTo>
                    <a:pt x="342" y="416"/>
                  </a:lnTo>
                  <a:lnTo>
                    <a:pt x="336" y="412"/>
                  </a:lnTo>
                  <a:lnTo>
                    <a:pt x="342" y="400"/>
                  </a:lnTo>
                  <a:lnTo>
                    <a:pt x="338" y="392"/>
                  </a:lnTo>
                  <a:lnTo>
                    <a:pt x="346" y="390"/>
                  </a:lnTo>
                  <a:lnTo>
                    <a:pt x="346" y="380"/>
                  </a:lnTo>
                  <a:lnTo>
                    <a:pt x="358" y="358"/>
                  </a:lnTo>
                  <a:lnTo>
                    <a:pt x="356" y="352"/>
                  </a:lnTo>
                  <a:lnTo>
                    <a:pt x="362" y="350"/>
                  </a:lnTo>
                  <a:lnTo>
                    <a:pt x="366" y="334"/>
                  </a:lnTo>
                  <a:lnTo>
                    <a:pt x="344" y="332"/>
                  </a:lnTo>
                  <a:lnTo>
                    <a:pt x="340" y="326"/>
                  </a:lnTo>
                  <a:lnTo>
                    <a:pt x="342" y="322"/>
                  </a:lnTo>
                  <a:lnTo>
                    <a:pt x="340" y="316"/>
                  </a:lnTo>
                  <a:lnTo>
                    <a:pt x="330" y="320"/>
                  </a:lnTo>
                  <a:lnTo>
                    <a:pt x="332" y="312"/>
                  </a:lnTo>
                  <a:lnTo>
                    <a:pt x="322" y="302"/>
                  </a:lnTo>
                  <a:lnTo>
                    <a:pt x="322" y="290"/>
                  </a:lnTo>
                  <a:lnTo>
                    <a:pt x="314" y="280"/>
                  </a:lnTo>
                  <a:lnTo>
                    <a:pt x="298" y="242"/>
                  </a:lnTo>
                  <a:lnTo>
                    <a:pt x="284" y="234"/>
                  </a:lnTo>
                  <a:lnTo>
                    <a:pt x="278" y="222"/>
                  </a:lnTo>
                  <a:lnTo>
                    <a:pt x="268" y="214"/>
                  </a:lnTo>
                  <a:lnTo>
                    <a:pt x="276" y="208"/>
                  </a:lnTo>
                  <a:lnTo>
                    <a:pt x="270" y="198"/>
                  </a:lnTo>
                  <a:lnTo>
                    <a:pt x="276" y="192"/>
                  </a:lnTo>
                  <a:lnTo>
                    <a:pt x="276" y="180"/>
                  </a:lnTo>
                  <a:lnTo>
                    <a:pt x="256" y="138"/>
                  </a:lnTo>
                  <a:lnTo>
                    <a:pt x="282" y="18"/>
                  </a:lnTo>
                  <a:lnTo>
                    <a:pt x="202" y="0"/>
                  </a:lnTo>
                  <a:lnTo>
                    <a:pt x="126" y="318"/>
                  </a:lnTo>
                  <a:lnTo>
                    <a:pt x="132" y="346"/>
                  </a:lnTo>
                  <a:lnTo>
                    <a:pt x="124" y="354"/>
                  </a:lnTo>
                  <a:lnTo>
                    <a:pt x="134" y="390"/>
                  </a:lnTo>
                  <a:lnTo>
                    <a:pt x="152" y="402"/>
                  </a:lnTo>
                  <a:lnTo>
                    <a:pt x="154" y="424"/>
                  </a:lnTo>
                  <a:lnTo>
                    <a:pt x="130" y="450"/>
                  </a:lnTo>
                  <a:lnTo>
                    <a:pt x="120" y="472"/>
                  </a:lnTo>
                  <a:lnTo>
                    <a:pt x="104" y="488"/>
                  </a:lnTo>
                  <a:lnTo>
                    <a:pt x="102" y="500"/>
                  </a:lnTo>
                  <a:lnTo>
                    <a:pt x="94" y="510"/>
                  </a:lnTo>
                  <a:lnTo>
                    <a:pt x="80" y="518"/>
                  </a:lnTo>
                  <a:lnTo>
                    <a:pt x="56" y="546"/>
                  </a:lnTo>
                  <a:lnTo>
                    <a:pt x="52" y="570"/>
                  </a:lnTo>
                  <a:lnTo>
                    <a:pt x="70" y="578"/>
                  </a:lnTo>
                  <a:lnTo>
                    <a:pt x="76" y="592"/>
                  </a:lnTo>
                  <a:lnTo>
                    <a:pt x="66" y="600"/>
                  </a:lnTo>
                  <a:lnTo>
                    <a:pt x="68" y="610"/>
                  </a:lnTo>
                  <a:lnTo>
                    <a:pt x="54" y="632"/>
                  </a:lnTo>
                  <a:lnTo>
                    <a:pt x="0" y="858"/>
                  </a:lnTo>
                  <a:lnTo>
                    <a:pt x="58" y="87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5" name="Freeform 252"/>
            <p:cNvSpPr>
              <a:spLocks/>
            </p:cNvSpPr>
            <p:nvPr/>
          </p:nvSpPr>
          <p:spPr bwMode="auto">
            <a:xfrm>
              <a:off x="3040857" y="2296141"/>
              <a:ext cx="881063" cy="691754"/>
            </a:xfrm>
            <a:custGeom>
              <a:avLst/>
              <a:gdLst>
                <a:gd name="T0" fmla="*/ 494 w 740"/>
                <a:gd name="T1" fmla="*/ 563 h 581"/>
                <a:gd name="T2" fmla="*/ 0 w 740"/>
                <a:gd name="T3" fmla="*/ 503 h 581"/>
                <a:gd name="T4" fmla="*/ 76 w 740"/>
                <a:gd name="T5" fmla="*/ 0 h 581"/>
                <a:gd name="T6" fmla="*/ 550 w 740"/>
                <a:gd name="T7" fmla="*/ 58 h 581"/>
                <a:gd name="T8" fmla="*/ 740 w 740"/>
                <a:gd name="T9" fmla="*/ 74 h 581"/>
                <a:gd name="T10" fmla="*/ 702 w 740"/>
                <a:gd name="T11" fmla="*/ 581 h 581"/>
                <a:gd name="T12" fmla="*/ 494 w 740"/>
                <a:gd name="T13" fmla="*/ 563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0" h="581">
                  <a:moveTo>
                    <a:pt x="494" y="563"/>
                  </a:moveTo>
                  <a:lnTo>
                    <a:pt x="0" y="503"/>
                  </a:lnTo>
                  <a:lnTo>
                    <a:pt x="76" y="0"/>
                  </a:lnTo>
                  <a:lnTo>
                    <a:pt x="550" y="58"/>
                  </a:lnTo>
                  <a:lnTo>
                    <a:pt x="740" y="74"/>
                  </a:lnTo>
                  <a:lnTo>
                    <a:pt x="702" y="581"/>
                  </a:lnTo>
                  <a:lnTo>
                    <a:pt x="494" y="563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6" name="Freeform 253"/>
            <p:cNvSpPr>
              <a:spLocks/>
            </p:cNvSpPr>
            <p:nvPr/>
          </p:nvSpPr>
          <p:spPr bwMode="auto">
            <a:xfrm>
              <a:off x="3231357" y="3054570"/>
              <a:ext cx="1675210" cy="1640681"/>
            </a:xfrm>
            <a:custGeom>
              <a:avLst/>
              <a:gdLst>
                <a:gd name="T0" fmla="*/ 42 w 1407"/>
                <a:gd name="T1" fmla="*/ 598 h 1378"/>
                <a:gd name="T2" fmla="*/ 168 w 1407"/>
                <a:gd name="T3" fmla="*/ 722 h 1378"/>
                <a:gd name="T4" fmla="*/ 290 w 1407"/>
                <a:gd name="T5" fmla="*/ 938 h 1378"/>
                <a:gd name="T6" fmla="*/ 422 w 1407"/>
                <a:gd name="T7" fmla="*/ 848 h 1378"/>
                <a:gd name="T8" fmla="*/ 610 w 1407"/>
                <a:gd name="T9" fmla="*/ 950 h 1378"/>
                <a:gd name="T10" fmla="*/ 692 w 1407"/>
                <a:gd name="T11" fmla="*/ 1122 h 1378"/>
                <a:gd name="T12" fmla="*/ 786 w 1407"/>
                <a:gd name="T13" fmla="*/ 1300 h 1378"/>
                <a:gd name="T14" fmla="*/ 880 w 1407"/>
                <a:gd name="T15" fmla="*/ 1348 h 1378"/>
                <a:gd name="T16" fmla="*/ 1010 w 1407"/>
                <a:gd name="T17" fmla="*/ 1378 h 1378"/>
                <a:gd name="T18" fmla="*/ 990 w 1407"/>
                <a:gd name="T19" fmla="*/ 1328 h 1378"/>
                <a:gd name="T20" fmla="*/ 984 w 1407"/>
                <a:gd name="T21" fmla="*/ 1244 h 1378"/>
                <a:gd name="T22" fmla="*/ 970 w 1407"/>
                <a:gd name="T23" fmla="*/ 1214 h 1378"/>
                <a:gd name="T24" fmla="*/ 982 w 1407"/>
                <a:gd name="T25" fmla="*/ 1202 h 1378"/>
                <a:gd name="T26" fmla="*/ 1004 w 1407"/>
                <a:gd name="T27" fmla="*/ 1160 h 1378"/>
                <a:gd name="T28" fmla="*/ 1032 w 1407"/>
                <a:gd name="T29" fmla="*/ 1114 h 1378"/>
                <a:gd name="T30" fmla="*/ 1020 w 1407"/>
                <a:gd name="T31" fmla="*/ 1102 h 1378"/>
                <a:gd name="T32" fmla="*/ 1060 w 1407"/>
                <a:gd name="T33" fmla="*/ 1080 h 1378"/>
                <a:gd name="T34" fmla="*/ 1086 w 1407"/>
                <a:gd name="T35" fmla="*/ 1066 h 1378"/>
                <a:gd name="T36" fmla="*/ 1084 w 1407"/>
                <a:gd name="T37" fmla="*/ 1042 h 1378"/>
                <a:gd name="T38" fmla="*/ 1098 w 1407"/>
                <a:gd name="T39" fmla="*/ 1032 h 1378"/>
                <a:gd name="T40" fmla="*/ 1106 w 1407"/>
                <a:gd name="T41" fmla="*/ 1028 h 1378"/>
                <a:gd name="T42" fmla="*/ 1117 w 1407"/>
                <a:gd name="T43" fmla="*/ 1036 h 1378"/>
                <a:gd name="T44" fmla="*/ 1131 w 1407"/>
                <a:gd name="T45" fmla="*/ 1024 h 1378"/>
                <a:gd name="T46" fmla="*/ 1169 w 1407"/>
                <a:gd name="T47" fmla="*/ 1028 h 1378"/>
                <a:gd name="T48" fmla="*/ 1127 w 1407"/>
                <a:gd name="T49" fmla="*/ 1052 h 1378"/>
                <a:gd name="T50" fmla="*/ 1233 w 1407"/>
                <a:gd name="T51" fmla="*/ 1002 h 1378"/>
                <a:gd name="T52" fmla="*/ 1259 w 1407"/>
                <a:gd name="T53" fmla="*/ 890 h 1378"/>
                <a:gd name="T54" fmla="*/ 1271 w 1407"/>
                <a:gd name="T55" fmla="*/ 910 h 1378"/>
                <a:gd name="T56" fmla="*/ 1269 w 1407"/>
                <a:gd name="T57" fmla="*/ 924 h 1378"/>
                <a:gd name="T58" fmla="*/ 1373 w 1407"/>
                <a:gd name="T59" fmla="*/ 896 h 1378"/>
                <a:gd name="T60" fmla="*/ 1379 w 1407"/>
                <a:gd name="T61" fmla="*/ 860 h 1378"/>
                <a:gd name="T62" fmla="*/ 1387 w 1407"/>
                <a:gd name="T63" fmla="*/ 822 h 1378"/>
                <a:gd name="T64" fmla="*/ 1383 w 1407"/>
                <a:gd name="T65" fmla="*/ 788 h 1378"/>
                <a:gd name="T66" fmla="*/ 1405 w 1407"/>
                <a:gd name="T67" fmla="*/ 740 h 1378"/>
                <a:gd name="T68" fmla="*/ 1401 w 1407"/>
                <a:gd name="T69" fmla="*/ 720 h 1378"/>
                <a:gd name="T70" fmla="*/ 1401 w 1407"/>
                <a:gd name="T71" fmla="*/ 708 h 1378"/>
                <a:gd name="T72" fmla="*/ 1391 w 1407"/>
                <a:gd name="T73" fmla="*/ 684 h 1378"/>
                <a:gd name="T74" fmla="*/ 1371 w 1407"/>
                <a:gd name="T75" fmla="*/ 658 h 1378"/>
                <a:gd name="T76" fmla="*/ 1347 w 1407"/>
                <a:gd name="T77" fmla="*/ 606 h 1378"/>
                <a:gd name="T78" fmla="*/ 1309 w 1407"/>
                <a:gd name="T79" fmla="*/ 408 h 1378"/>
                <a:gd name="T80" fmla="*/ 1249 w 1407"/>
                <a:gd name="T81" fmla="*/ 370 h 1378"/>
                <a:gd name="T82" fmla="*/ 1189 w 1407"/>
                <a:gd name="T83" fmla="*/ 368 h 1378"/>
                <a:gd name="T84" fmla="*/ 1165 w 1407"/>
                <a:gd name="T85" fmla="*/ 372 h 1378"/>
                <a:gd name="T86" fmla="*/ 1119 w 1407"/>
                <a:gd name="T87" fmla="*/ 382 h 1378"/>
                <a:gd name="T88" fmla="*/ 1100 w 1407"/>
                <a:gd name="T89" fmla="*/ 380 h 1378"/>
                <a:gd name="T90" fmla="*/ 1030 w 1407"/>
                <a:gd name="T91" fmla="*/ 370 h 1378"/>
                <a:gd name="T92" fmla="*/ 1016 w 1407"/>
                <a:gd name="T93" fmla="*/ 376 h 1378"/>
                <a:gd name="T94" fmla="*/ 988 w 1407"/>
                <a:gd name="T95" fmla="*/ 362 h 1378"/>
                <a:gd name="T96" fmla="*/ 970 w 1407"/>
                <a:gd name="T97" fmla="*/ 350 h 1378"/>
                <a:gd name="T98" fmla="*/ 938 w 1407"/>
                <a:gd name="T99" fmla="*/ 350 h 1378"/>
                <a:gd name="T100" fmla="*/ 896 w 1407"/>
                <a:gd name="T101" fmla="*/ 328 h 1378"/>
                <a:gd name="T102" fmla="*/ 856 w 1407"/>
                <a:gd name="T103" fmla="*/ 328 h 1378"/>
                <a:gd name="T104" fmla="*/ 810 w 1407"/>
                <a:gd name="T105" fmla="*/ 300 h 1378"/>
                <a:gd name="T106" fmla="*/ 774 w 1407"/>
                <a:gd name="T107" fmla="*/ 290 h 1378"/>
                <a:gd name="T108" fmla="*/ 728 w 1407"/>
                <a:gd name="T109" fmla="*/ 268 h 1378"/>
                <a:gd name="T110" fmla="*/ 384 w 1407"/>
                <a:gd name="T111" fmla="*/ 570 h 1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07" h="1378">
                  <a:moveTo>
                    <a:pt x="4" y="552"/>
                  </a:moveTo>
                  <a:lnTo>
                    <a:pt x="30" y="572"/>
                  </a:lnTo>
                  <a:lnTo>
                    <a:pt x="42" y="598"/>
                  </a:lnTo>
                  <a:lnTo>
                    <a:pt x="64" y="612"/>
                  </a:lnTo>
                  <a:lnTo>
                    <a:pt x="80" y="638"/>
                  </a:lnTo>
                  <a:lnTo>
                    <a:pt x="168" y="722"/>
                  </a:lnTo>
                  <a:lnTo>
                    <a:pt x="186" y="824"/>
                  </a:lnTo>
                  <a:lnTo>
                    <a:pt x="210" y="866"/>
                  </a:lnTo>
                  <a:lnTo>
                    <a:pt x="290" y="938"/>
                  </a:lnTo>
                  <a:lnTo>
                    <a:pt x="336" y="950"/>
                  </a:lnTo>
                  <a:lnTo>
                    <a:pt x="398" y="854"/>
                  </a:lnTo>
                  <a:lnTo>
                    <a:pt x="422" y="848"/>
                  </a:lnTo>
                  <a:lnTo>
                    <a:pt x="442" y="854"/>
                  </a:lnTo>
                  <a:lnTo>
                    <a:pt x="532" y="858"/>
                  </a:lnTo>
                  <a:lnTo>
                    <a:pt x="610" y="950"/>
                  </a:lnTo>
                  <a:lnTo>
                    <a:pt x="644" y="1046"/>
                  </a:lnTo>
                  <a:lnTo>
                    <a:pt x="676" y="1084"/>
                  </a:lnTo>
                  <a:lnTo>
                    <a:pt x="692" y="1122"/>
                  </a:lnTo>
                  <a:lnTo>
                    <a:pt x="726" y="1148"/>
                  </a:lnTo>
                  <a:lnTo>
                    <a:pt x="752" y="1246"/>
                  </a:lnTo>
                  <a:lnTo>
                    <a:pt x="786" y="1300"/>
                  </a:lnTo>
                  <a:lnTo>
                    <a:pt x="820" y="1324"/>
                  </a:lnTo>
                  <a:lnTo>
                    <a:pt x="850" y="1330"/>
                  </a:lnTo>
                  <a:lnTo>
                    <a:pt x="880" y="1348"/>
                  </a:lnTo>
                  <a:lnTo>
                    <a:pt x="936" y="1354"/>
                  </a:lnTo>
                  <a:lnTo>
                    <a:pt x="974" y="1374"/>
                  </a:lnTo>
                  <a:lnTo>
                    <a:pt x="1010" y="1378"/>
                  </a:lnTo>
                  <a:lnTo>
                    <a:pt x="1012" y="1372"/>
                  </a:lnTo>
                  <a:lnTo>
                    <a:pt x="1004" y="1366"/>
                  </a:lnTo>
                  <a:lnTo>
                    <a:pt x="990" y="1328"/>
                  </a:lnTo>
                  <a:lnTo>
                    <a:pt x="988" y="1324"/>
                  </a:lnTo>
                  <a:lnTo>
                    <a:pt x="976" y="1250"/>
                  </a:lnTo>
                  <a:lnTo>
                    <a:pt x="984" y="1244"/>
                  </a:lnTo>
                  <a:lnTo>
                    <a:pt x="986" y="1220"/>
                  </a:lnTo>
                  <a:lnTo>
                    <a:pt x="984" y="1216"/>
                  </a:lnTo>
                  <a:lnTo>
                    <a:pt x="970" y="1214"/>
                  </a:lnTo>
                  <a:lnTo>
                    <a:pt x="964" y="1210"/>
                  </a:lnTo>
                  <a:lnTo>
                    <a:pt x="968" y="1202"/>
                  </a:lnTo>
                  <a:lnTo>
                    <a:pt x="982" y="1202"/>
                  </a:lnTo>
                  <a:lnTo>
                    <a:pt x="988" y="1208"/>
                  </a:lnTo>
                  <a:lnTo>
                    <a:pt x="998" y="1202"/>
                  </a:lnTo>
                  <a:lnTo>
                    <a:pt x="1004" y="1160"/>
                  </a:lnTo>
                  <a:lnTo>
                    <a:pt x="992" y="1140"/>
                  </a:lnTo>
                  <a:lnTo>
                    <a:pt x="1022" y="1134"/>
                  </a:lnTo>
                  <a:lnTo>
                    <a:pt x="1032" y="1114"/>
                  </a:lnTo>
                  <a:lnTo>
                    <a:pt x="1032" y="1110"/>
                  </a:lnTo>
                  <a:lnTo>
                    <a:pt x="1020" y="1112"/>
                  </a:lnTo>
                  <a:lnTo>
                    <a:pt x="1020" y="1102"/>
                  </a:lnTo>
                  <a:lnTo>
                    <a:pt x="1040" y="1092"/>
                  </a:lnTo>
                  <a:lnTo>
                    <a:pt x="1048" y="1092"/>
                  </a:lnTo>
                  <a:lnTo>
                    <a:pt x="1060" y="1080"/>
                  </a:lnTo>
                  <a:lnTo>
                    <a:pt x="1062" y="1072"/>
                  </a:lnTo>
                  <a:lnTo>
                    <a:pt x="1066" y="1068"/>
                  </a:lnTo>
                  <a:lnTo>
                    <a:pt x="1086" y="1066"/>
                  </a:lnTo>
                  <a:lnTo>
                    <a:pt x="1094" y="1062"/>
                  </a:lnTo>
                  <a:lnTo>
                    <a:pt x="1096" y="1052"/>
                  </a:lnTo>
                  <a:lnTo>
                    <a:pt x="1084" y="1042"/>
                  </a:lnTo>
                  <a:lnTo>
                    <a:pt x="1084" y="1034"/>
                  </a:lnTo>
                  <a:lnTo>
                    <a:pt x="1088" y="1028"/>
                  </a:lnTo>
                  <a:lnTo>
                    <a:pt x="1098" y="1032"/>
                  </a:lnTo>
                  <a:lnTo>
                    <a:pt x="1104" y="1038"/>
                  </a:lnTo>
                  <a:lnTo>
                    <a:pt x="1106" y="1036"/>
                  </a:lnTo>
                  <a:lnTo>
                    <a:pt x="1106" y="1028"/>
                  </a:lnTo>
                  <a:lnTo>
                    <a:pt x="1108" y="1024"/>
                  </a:lnTo>
                  <a:lnTo>
                    <a:pt x="1114" y="1026"/>
                  </a:lnTo>
                  <a:lnTo>
                    <a:pt x="1117" y="1036"/>
                  </a:lnTo>
                  <a:lnTo>
                    <a:pt x="1121" y="1036"/>
                  </a:lnTo>
                  <a:lnTo>
                    <a:pt x="1127" y="1032"/>
                  </a:lnTo>
                  <a:lnTo>
                    <a:pt x="1131" y="1024"/>
                  </a:lnTo>
                  <a:lnTo>
                    <a:pt x="1133" y="1022"/>
                  </a:lnTo>
                  <a:lnTo>
                    <a:pt x="1137" y="1038"/>
                  </a:lnTo>
                  <a:lnTo>
                    <a:pt x="1169" y="1028"/>
                  </a:lnTo>
                  <a:lnTo>
                    <a:pt x="1175" y="1030"/>
                  </a:lnTo>
                  <a:lnTo>
                    <a:pt x="1173" y="1032"/>
                  </a:lnTo>
                  <a:lnTo>
                    <a:pt x="1127" y="1052"/>
                  </a:lnTo>
                  <a:lnTo>
                    <a:pt x="1123" y="1058"/>
                  </a:lnTo>
                  <a:lnTo>
                    <a:pt x="1127" y="1060"/>
                  </a:lnTo>
                  <a:lnTo>
                    <a:pt x="1233" y="1002"/>
                  </a:lnTo>
                  <a:lnTo>
                    <a:pt x="1251" y="960"/>
                  </a:lnTo>
                  <a:lnTo>
                    <a:pt x="1253" y="896"/>
                  </a:lnTo>
                  <a:lnTo>
                    <a:pt x="1259" y="890"/>
                  </a:lnTo>
                  <a:lnTo>
                    <a:pt x="1265" y="886"/>
                  </a:lnTo>
                  <a:lnTo>
                    <a:pt x="1271" y="886"/>
                  </a:lnTo>
                  <a:lnTo>
                    <a:pt x="1271" y="910"/>
                  </a:lnTo>
                  <a:lnTo>
                    <a:pt x="1285" y="910"/>
                  </a:lnTo>
                  <a:lnTo>
                    <a:pt x="1283" y="920"/>
                  </a:lnTo>
                  <a:lnTo>
                    <a:pt x="1269" y="924"/>
                  </a:lnTo>
                  <a:lnTo>
                    <a:pt x="1275" y="926"/>
                  </a:lnTo>
                  <a:lnTo>
                    <a:pt x="1337" y="898"/>
                  </a:lnTo>
                  <a:lnTo>
                    <a:pt x="1373" y="896"/>
                  </a:lnTo>
                  <a:lnTo>
                    <a:pt x="1361" y="882"/>
                  </a:lnTo>
                  <a:lnTo>
                    <a:pt x="1373" y="872"/>
                  </a:lnTo>
                  <a:lnTo>
                    <a:pt x="1379" y="860"/>
                  </a:lnTo>
                  <a:lnTo>
                    <a:pt x="1385" y="850"/>
                  </a:lnTo>
                  <a:lnTo>
                    <a:pt x="1389" y="840"/>
                  </a:lnTo>
                  <a:lnTo>
                    <a:pt x="1387" y="822"/>
                  </a:lnTo>
                  <a:lnTo>
                    <a:pt x="1381" y="814"/>
                  </a:lnTo>
                  <a:lnTo>
                    <a:pt x="1387" y="802"/>
                  </a:lnTo>
                  <a:lnTo>
                    <a:pt x="1383" y="788"/>
                  </a:lnTo>
                  <a:lnTo>
                    <a:pt x="1401" y="754"/>
                  </a:lnTo>
                  <a:lnTo>
                    <a:pt x="1401" y="746"/>
                  </a:lnTo>
                  <a:lnTo>
                    <a:pt x="1405" y="740"/>
                  </a:lnTo>
                  <a:lnTo>
                    <a:pt x="1401" y="732"/>
                  </a:lnTo>
                  <a:lnTo>
                    <a:pt x="1407" y="728"/>
                  </a:lnTo>
                  <a:lnTo>
                    <a:pt x="1401" y="720"/>
                  </a:lnTo>
                  <a:lnTo>
                    <a:pt x="1403" y="708"/>
                  </a:lnTo>
                  <a:lnTo>
                    <a:pt x="1401" y="708"/>
                  </a:lnTo>
                  <a:lnTo>
                    <a:pt x="1401" y="708"/>
                  </a:lnTo>
                  <a:lnTo>
                    <a:pt x="1397" y="706"/>
                  </a:lnTo>
                  <a:lnTo>
                    <a:pt x="1389" y="692"/>
                  </a:lnTo>
                  <a:lnTo>
                    <a:pt x="1391" y="684"/>
                  </a:lnTo>
                  <a:lnTo>
                    <a:pt x="1381" y="672"/>
                  </a:lnTo>
                  <a:lnTo>
                    <a:pt x="1383" y="668"/>
                  </a:lnTo>
                  <a:lnTo>
                    <a:pt x="1371" y="658"/>
                  </a:lnTo>
                  <a:lnTo>
                    <a:pt x="1373" y="644"/>
                  </a:lnTo>
                  <a:lnTo>
                    <a:pt x="1371" y="632"/>
                  </a:lnTo>
                  <a:lnTo>
                    <a:pt x="1347" y="606"/>
                  </a:lnTo>
                  <a:lnTo>
                    <a:pt x="1345" y="410"/>
                  </a:lnTo>
                  <a:lnTo>
                    <a:pt x="1331" y="404"/>
                  </a:lnTo>
                  <a:lnTo>
                    <a:pt x="1309" y="408"/>
                  </a:lnTo>
                  <a:lnTo>
                    <a:pt x="1301" y="398"/>
                  </a:lnTo>
                  <a:lnTo>
                    <a:pt x="1259" y="384"/>
                  </a:lnTo>
                  <a:lnTo>
                    <a:pt x="1249" y="370"/>
                  </a:lnTo>
                  <a:lnTo>
                    <a:pt x="1223" y="358"/>
                  </a:lnTo>
                  <a:lnTo>
                    <a:pt x="1211" y="370"/>
                  </a:lnTo>
                  <a:lnTo>
                    <a:pt x="1189" y="368"/>
                  </a:lnTo>
                  <a:lnTo>
                    <a:pt x="1183" y="360"/>
                  </a:lnTo>
                  <a:lnTo>
                    <a:pt x="1165" y="366"/>
                  </a:lnTo>
                  <a:lnTo>
                    <a:pt x="1165" y="372"/>
                  </a:lnTo>
                  <a:lnTo>
                    <a:pt x="1147" y="366"/>
                  </a:lnTo>
                  <a:lnTo>
                    <a:pt x="1125" y="374"/>
                  </a:lnTo>
                  <a:lnTo>
                    <a:pt x="1119" y="382"/>
                  </a:lnTo>
                  <a:lnTo>
                    <a:pt x="1112" y="382"/>
                  </a:lnTo>
                  <a:lnTo>
                    <a:pt x="1108" y="390"/>
                  </a:lnTo>
                  <a:lnTo>
                    <a:pt x="1100" y="380"/>
                  </a:lnTo>
                  <a:lnTo>
                    <a:pt x="1070" y="370"/>
                  </a:lnTo>
                  <a:lnTo>
                    <a:pt x="1060" y="360"/>
                  </a:lnTo>
                  <a:lnTo>
                    <a:pt x="1030" y="370"/>
                  </a:lnTo>
                  <a:lnTo>
                    <a:pt x="1032" y="374"/>
                  </a:lnTo>
                  <a:lnTo>
                    <a:pt x="1024" y="386"/>
                  </a:lnTo>
                  <a:lnTo>
                    <a:pt x="1016" y="376"/>
                  </a:lnTo>
                  <a:lnTo>
                    <a:pt x="1016" y="364"/>
                  </a:lnTo>
                  <a:lnTo>
                    <a:pt x="992" y="372"/>
                  </a:lnTo>
                  <a:lnTo>
                    <a:pt x="988" y="362"/>
                  </a:lnTo>
                  <a:lnTo>
                    <a:pt x="976" y="362"/>
                  </a:lnTo>
                  <a:lnTo>
                    <a:pt x="976" y="354"/>
                  </a:lnTo>
                  <a:lnTo>
                    <a:pt x="970" y="350"/>
                  </a:lnTo>
                  <a:lnTo>
                    <a:pt x="946" y="366"/>
                  </a:lnTo>
                  <a:lnTo>
                    <a:pt x="936" y="362"/>
                  </a:lnTo>
                  <a:lnTo>
                    <a:pt x="938" y="350"/>
                  </a:lnTo>
                  <a:lnTo>
                    <a:pt x="924" y="344"/>
                  </a:lnTo>
                  <a:lnTo>
                    <a:pt x="924" y="330"/>
                  </a:lnTo>
                  <a:lnTo>
                    <a:pt x="896" y="328"/>
                  </a:lnTo>
                  <a:lnTo>
                    <a:pt x="886" y="338"/>
                  </a:lnTo>
                  <a:lnTo>
                    <a:pt x="872" y="326"/>
                  </a:lnTo>
                  <a:lnTo>
                    <a:pt x="856" y="328"/>
                  </a:lnTo>
                  <a:lnTo>
                    <a:pt x="832" y="316"/>
                  </a:lnTo>
                  <a:lnTo>
                    <a:pt x="812" y="316"/>
                  </a:lnTo>
                  <a:lnTo>
                    <a:pt x="810" y="300"/>
                  </a:lnTo>
                  <a:lnTo>
                    <a:pt x="794" y="284"/>
                  </a:lnTo>
                  <a:lnTo>
                    <a:pt x="788" y="294"/>
                  </a:lnTo>
                  <a:lnTo>
                    <a:pt x="774" y="290"/>
                  </a:lnTo>
                  <a:lnTo>
                    <a:pt x="764" y="292"/>
                  </a:lnTo>
                  <a:lnTo>
                    <a:pt x="740" y="268"/>
                  </a:lnTo>
                  <a:lnTo>
                    <a:pt x="728" y="268"/>
                  </a:lnTo>
                  <a:lnTo>
                    <a:pt x="740" y="22"/>
                  </a:lnTo>
                  <a:lnTo>
                    <a:pt x="432" y="0"/>
                  </a:lnTo>
                  <a:lnTo>
                    <a:pt x="384" y="570"/>
                  </a:lnTo>
                  <a:lnTo>
                    <a:pt x="0" y="530"/>
                  </a:lnTo>
                  <a:lnTo>
                    <a:pt x="4" y="552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7" name="Freeform 254"/>
            <p:cNvSpPr>
              <a:spLocks/>
            </p:cNvSpPr>
            <p:nvPr/>
          </p:nvSpPr>
          <p:spPr bwMode="auto">
            <a:xfrm>
              <a:off x="5113736" y="2162791"/>
              <a:ext cx="473869" cy="841772"/>
            </a:xfrm>
            <a:custGeom>
              <a:avLst/>
              <a:gdLst>
                <a:gd name="T0" fmla="*/ 334 w 398"/>
                <a:gd name="T1" fmla="*/ 0 h 707"/>
                <a:gd name="T2" fmla="*/ 90 w 398"/>
                <a:gd name="T3" fmla="*/ 28 h 707"/>
                <a:gd name="T4" fmla="*/ 116 w 398"/>
                <a:gd name="T5" fmla="*/ 58 h 707"/>
                <a:gd name="T6" fmla="*/ 116 w 398"/>
                <a:gd name="T7" fmla="*/ 96 h 707"/>
                <a:gd name="T8" fmla="*/ 102 w 398"/>
                <a:gd name="T9" fmla="*/ 126 h 707"/>
                <a:gd name="T10" fmla="*/ 38 w 398"/>
                <a:gd name="T11" fmla="*/ 152 h 707"/>
                <a:gd name="T12" fmla="*/ 48 w 398"/>
                <a:gd name="T13" fmla="*/ 190 h 707"/>
                <a:gd name="T14" fmla="*/ 38 w 398"/>
                <a:gd name="T15" fmla="*/ 224 h 707"/>
                <a:gd name="T16" fmla="*/ 8 w 398"/>
                <a:gd name="T17" fmla="*/ 260 h 707"/>
                <a:gd name="T18" fmla="*/ 4 w 398"/>
                <a:gd name="T19" fmla="*/ 286 h 707"/>
                <a:gd name="T20" fmla="*/ 16 w 398"/>
                <a:gd name="T21" fmla="*/ 368 h 707"/>
                <a:gd name="T22" fmla="*/ 50 w 398"/>
                <a:gd name="T23" fmla="*/ 402 h 707"/>
                <a:gd name="T24" fmla="*/ 86 w 398"/>
                <a:gd name="T25" fmla="*/ 460 h 707"/>
                <a:gd name="T26" fmla="*/ 100 w 398"/>
                <a:gd name="T27" fmla="*/ 472 h 707"/>
                <a:gd name="T28" fmla="*/ 128 w 398"/>
                <a:gd name="T29" fmla="*/ 464 h 707"/>
                <a:gd name="T30" fmla="*/ 142 w 398"/>
                <a:gd name="T31" fmla="*/ 478 h 707"/>
                <a:gd name="T32" fmla="*/ 138 w 398"/>
                <a:gd name="T33" fmla="*/ 502 h 707"/>
                <a:gd name="T34" fmla="*/ 124 w 398"/>
                <a:gd name="T35" fmla="*/ 553 h 707"/>
                <a:gd name="T36" fmla="*/ 168 w 398"/>
                <a:gd name="T37" fmla="*/ 585 h 707"/>
                <a:gd name="T38" fmla="*/ 210 w 398"/>
                <a:gd name="T39" fmla="*/ 633 h 707"/>
                <a:gd name="T40" fmla="*/ 212 w 398"/>
                <a:gd name="T41" fmla="*/ 671 h 707"/>
                <a:gd name="T42" fmla="*/ 228 w 398"/>
                <a:gd name="T43" fmla="*/ 697 h 707"/>
                <a:gd name="T44" fmla="*/ 236 w 398"/>
                <a:gd name="T45" fmla="*/ 693 h 707"/>
                <a:gd name="T46" fmla="*/ 248 w 398"/>
                <a:gd name="T47" fmla="*/ 705 h 707"/>
                <a:gd name="T48" fmla="*/ 250 w 398"/>
                <a:gd name="T49" fmla="*/ 693 h 707"/>
                <a:gd name="T50" fmla="*/ 314 w 398"/>
                <a:gd name="T51" fmla="*/ 689 h 707"/>
                <a:gd name="T52" fmla="*/ 314 w 398"/>
                <a:gd name="T53" fmla="*/ 661 h 707"/>
                <a:gd name="T54" fmla="*/ 354 w 398"/>
                <a:gd name="T55" fmla="*/ 633 h 707"/>
                <a:gd name="T56" fmla="*/ 356 w 398"/>
                <a:gd name="T57" fmla="*/ 591 h 707"/>
                <a:gd name="T58" fmla="*/ 350 w 398"/>
                <a:gd name="T59" fmla="*/ 591 h 707"/>
                <a:gd name="T60" fmla="*/ 348 w 398"/>
                <a:gd name="T61" fmla="*/ 581 h 707"/>
                <a:gd name="T62" fmla="*/ 352 w 398"/>
                <a:gd name="T63" fmla="*/ 561 h 707"/>
                <a:gd name="T64" fmla="*/ 354 w 398"/>
                <a:gd name="T65" fmla="*/ 555 h 707"/>
                <a:gd name="T66" fmla="*/ 356 w 398"/>
                <a:gd name="T67" fmla="*/ 537 h 707"/>
                <a:gd name="T68" fmla="*/ 370 w 398"/>
                <a:gd name="T69" fmla="*/ 529 h 707"/>
                <a:gd name="T70" fmla="*/ 388 w 398"/>
                <a:gd name="T71" fmla="*/ 502 h 707"/>
                <a:gd name="T72" fmla="*/ 398 w 398"/>
                <a:gd name="T73" fmla="*/ 470 h 707"/>
                <a:gd name="T74" fmla="*/ 394 w 398"/>
                <a:gd name="T75" fmla="*/ 444 h 707"/>
                <a:gd name="T76" fmla="*/ 386 w 398"/>
                <a:gd name="T77" fmla="*/ 412 h 707"/>
                <a:gd name="T78" fmla="*/ 392 w 398"/>
                <a:gd name="T79" fmla="*/ 390 h 707"/>
                <a:gd name="T80" fmla="*/ 336 w 398"/>
                <a:gd name="T81" fmla="*/ 24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98" h="707">
                  <a:moveTo>
                    <a:pt x="336" y="24"/>
                  </a:moveTo>
                  <a:lnTo>
                    <a:pt x="334" y="0"/>
                  </a:lnTo>
                  <a:lnTo>
                    <a:pt x="70" y="16"/>
                  </a:lnTo>
                  <a:lnTo>
                    <a:pt x="90" y="28"/>
                  </a:lnTo>
                  <a:lnTo>
                    <a:pt x="94" y="42"/>
                  </a:lnTo>
                  <a:lnTo>
                    <a:pt x="116" y="58"/>
                  </a:lnTo>
                  <a:lnTo>
                    <a:pt x="120" y="74"/>
                  </a:lnTo>
                  <a:lnTo>
                    <a:pt x="116" y="96"/>
                  </a:lnTo>
                  <a:lnTo>
                    <a:pt x="106" y="106"/>
                  </a:lnTo>
                  <a:lnTo>
                    <a:pt x="102" y="126"/>
                  </a:lnTo>
                  <a:lnTo>
                    <a:pt x="72" y="144"/>
                  </a:lnTo>
                  <a:lnTo>
                    <a:pt x="38" y="152"/>
                  </a:lnTo>
                  <a:lnTo>
                    <a:pt x="34" y="174"/>
                  </a:lnTo>
                  <a:lnTo>
                    <a:pt x="48" y="190"/>
                  </a:lnTo>
                  <a:lnTo>
                    <a:pt x="50" y="208"/>
                  </a:lnTo>
                  <a:lnTo>
                    <a:pt x="38" y="224"/>
                  </a:lnTo>
                  <a:lnTo>
                    <a:pt x="34" y="246"/>
                  </a:lnTo>
                  <a:lnTo>
                    <a:pt x="8" y="260"/>
                  </a:lnTo>
                  <a:lnTo>
                    <a:pt x="12" y="280"/>
                  </a:lnTo>
                  <a:lnTo>
                    <a:pt x="4" y="286"/>
                  </a:lnTo>
                  <a:lnTo>
                    <a:pt x="0" y="318"/>
                  </a:lnTo>
                  <a:lnTo>
                    <a:pt x="16" y="368"/>
                  </a:lnTo>
                  <a:lnTo>
                    <a:pt x="44" y="390"/>
                  </a:lnTo>
                  <a:lnTo>
                    <a:pt x="50" y="402"/>
                  </a:lnTo>
                  <a:lnTo>
                    <a:pt x="74" y="420"/>
                  </a:lnTo>
                  <a:lnTo>
                    <a:pt x="86" y="460"/>
                  </a:lnTo>
                  <a:lnTo>
                    <a:pt x="92" y="470"/>
                  </a:lnTo>
                  <a:lnTo>
                    <a:pt x="100" y="472"/>
                  </a:lnTo>
                  <a:lnTo>
                    <a:pt x="110" y="460"/>
                  </a:lnTo>
                  <a:lnTo>
                    <a:pt x="128" y="464"/>
                  </a:lnTo>
                  <a:lnTo>
                    <a:pt x="142" y="474"/>
                  </a:lnTo>
                  <a:lnTo>
                    <a:pt x="142" y="478"/>
                  </a:lnTo>
                  <a:lnTo>
                    <a:pt x="136" y="490"/>
                  </a:lnTo>
                  <a:lnTo>
                    <a:pt x="138" y="502"/>
                  </a:lnTo>
                  <a:lnTo>
                    <a:pt x="120" y="537"/>
                  </a:lnTo>
                  <a:lnTo>
                    <a:pt x="124" y="553"/>
                  </a:lnTo>
                  <a:lnTo>
                    <a:pt x="156" y="583"/>
                  </a:lnTo>
                  <a:lnTo>
                    <a:pt x="168" y="585"/>
                  </a:lnTo>
                  <a:lnTo>
                    <a:pt x="210" y="617"/>
                  </a:lnTo>
                  <a:lnTo>
                    <a:pt x="210" y="633"/>
                  </a:lnTo>
                  <a:lnTo>
                    <a:pt x="220" y="651"/>
                  </a:lnTo>
                  <a:lnTo>
                    <a:pt x="212" y="671"/>
                  </a:lnTo>
                  <a:lnTo>
                    <a:pt x="218" y="673"/>
                  </a:lnTo>
                  <a:lnTo>
                    <a:pt x="228" y="697"/>
                  </a:lnTo>
                  <a:lnTo>
                    <a:pt x="240" y="703"/>
                  </a:lnTo>
                  <a:lnTo>
                    <a:pt x="236" y="693"/>
                  </a:lnTo>
                  <a:lnTo>
                    <a:pt x="240" y="691"/>
                  </a:lnTo>
                  <a:lnTo>
                    <a:pt x="248" y="705"/>
                  </a:lnTo>
                  <a:lnTo>
                    <a:pt x="256" y="707"/>
                  </a:lnTo>
                  <a:lnTo>
                    <a:pt x="250" y="693"/>
                  </a:lnTo>
                  <a:lnTo>
                    <a:pt x="266" y="673"/>
                  </a:lnTo>
                  <a:lnTo>
                    <a:pt x="314" y="689"/>
                  </a:lnTo>
                  <a:lnTo>
                    <a:pt x="324" y="679"/>
                  </a:lnTo>
                  <a:lnTo>
                    <a:pt x="314" y="661"/>
                  </a:lnTo>
                  <a:lnTo>
                    <a:pt x="316" y="647"/>
                  </a:lnTo>
                  <a:lnTo>
                    <a:pt x="354" y="633"/>
                  </a:lnTo>
                  <a:lnTo>
                    <a:pt x="346" y="611"/>
                  </a:lnTo>
                  <a:lnTo>
                    <a:pt x="356" y="591"/>
                  </a:lnTo>
                  <a:lnTo>
                    <a:pt x="354" y="591"/>
                  </a:lnTo>
                  <a:lnTo>
                    <a:pt x="350" y="591"/>
                  </a:lnTo>
                  <a:lnTo>
                    <a:pt x="356" y="587"/>
                  </a:lnTo>
                  <a:lnTo>
                    <a:pt x="348" y="581"/>
                  </a:lnTo>
                  <a:lnTo>
                    <a:pt x="356" y="581"/>
                  </a:lnTo>
                  <a:lnTo>
                    <a:pt x="352" y="561"/>
                  </a:lnTo>
                  <a:lnTo>
                    <a:pt x="360" y="557"/>
                  </a:lnTo>
                  <a:lnTo>
                    <a:pt x="354" y="555"/>
                  </a:lnTo>
                  <a:lnTo>
                    <a:pt x="364" y="549"/>
                  </a:lnTo>
                  <a:lnTo>
                    <a:pt x="356" y="537"/>
                  </a:lnTo>
                  <a:lnTo>
                    <a:pt x="360" y="529"/>
                  </a:lnTo>
                  <a:lnTo>
                    <a:pt x="370" y="529"/>
                  </a:lnTo>
                  <a:lnTo>
                    <a:pt x="378" y="508"/>
                  </a:lnTo>
                  <a:lnTo>
                    <a:pt x="388" y="502"/>
                  </a:lnTo>
                  <a:lnTo>
                    <a:pt x="386" y="494"/>
                  </a:lnTo>
                  <a:lnTo>
                    <a:pt x="398" y="470"/>
                  </a:lnTo>
                  <a:lnTo>
                    <a:pt x="392" y="454"/>
                  </a:lnTo>
                  <a:lnTo>
                    <a:pt x="394" y="444"/>
                  </a:lnTo>
                  <a:lnTo>
                    <a:pt x="380" y="424"/>
                  </a:lnTo>
                  <a:lnTo>
                    <a:pt x="386" y="412"/>
                  </a:lnTo>
                  <a:lnTo>
                    <a:pt x="382" y="400"/>
                  </a:lnTo>
                  <a:lnTo>
                    <a:pt x="392" y="390"/>
                  </a:lnTo>
                  <a:lnTo>
                    <a:pt x="368" y="92"/>
                  </a:lnTo>
                  <a:lnTo>
                    <a:pt x="336" y="24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8" name="Freeform 255"/>
            <p:cNvSpPr>
              <a:spLocks/>
            </p:cNvSpPr>
            <p:nvPr/>
          </p:nvSpPr>
          <p:spPr bwMode="auto">
            <a:xfrm>
              <a:off x="5854305" y="2143741"/>
              <a:ext cx="502444" cy="569119"/>
            </a:xfrm>
            <a:custGeom>
              <a:avLst/>
              <a:gdLst>
                <a:gd name="T0" fmla="*/ 372 w 422"/>
                <a:gd name="T1" fmla="*/ 8 h 478"/>
                <a:gd name="T2" fmla="*/ 286 w 422"/>
                <a:gd name="T3" fmla="*/ 74 h 478"/>
                <a:gd name="T4" fmla="*/ 258 w 422"/>
                <a:gd name="T5" fmla="*/ 76 h 478"/>
                <a:gd name="T6" fmla="*/ 228 w 422"/>
                <a:gd name="T7" fmla="*/ 92 h 478"/>
                <a:gd name="T8" fmla="*/ 196 w 422"/>
                <a:gd name="T9" fmla="*/ 90 h 478"/>
                <a:gd name="T10" fmla="*/ 190 w 422"/>
                <a:gd name="T11" fmla="*/ 86 h 478"/>
                <a:gd name="T12" fmla="*/ 178 w 422"/>
                <a:gd name="T13" fmla="*/ 88 h 478"/>
                <a:gd name="T14" fmla="*/ 170 w 422"/>
                <a:gd name="T15" fmla="*/ 86 h 478"/>
                <a:gd name="T16" fmla="*/ 156 w 422"/>
                <a:gd name="T17" fmla="*/ 76 h 478"/>
                <a:gd name="T18" fmla="*/ 130 w 422"/>
                <a:gd name="T19" fmla="*/ 70 h 478"/>
                <a:gd name="T20" fmla="*/ 0 w 422"/>
                <a:gd name="T21" fmla="*/ 86 h 478"/>
                <a:gd name="T22" fmla="*/ 36 w 422"/>
                <a:gd name="T23" fmla="*/ 416 h 478"/>
                <a:gd name="T24" fmla="*/ 44 w 422"/>
                <a:gd name="T25" fmla="*/ 410 h 478"/>
                <a:gd name="T26" fmla="*/ 56 w 422"/>
                <a:gd name="T27" fmla="*/ 418 h 478"/>
                <a:gd name="T28" fmla="*/ 72 w 422"/>
                <a:gd name="T29" fmla="*/ 412 h 478"/>
                <a:gd name="T30" fmla="*/ 86 w 422"/>
                <a:gd name="T31" fmla="*/ 422 h 478"/>
                <a:gd name="T32" fmla="*/ 98 w 422"/>
                <a:gd name="T33" fmla="*/ 446 h 478"/>
                <a:gd name="T34" fmla="*/ 132 w 422"/>
                <a:gd name="T35" fmla="*/ 448 h 478"/>
                <a:gd name="T36" fmla="*/ 146 w 422"/>
                <a:gd name="T37" fmla="*/ 462 h 478"/>
                <a:gd name="T38" fmla="*/ 156 w 422"/>
                <a:gd name="T39" fmla="*/ 462 h 478"/>
                <a:gd name="T40" fmla="*/ 158 w 422"/>
                <a:gd name="T41" fmla="*/ 456 h 478"/>
                <a:gd name="T42" fmla="*/ 168 w 422"/>
                <a:gd name="T43" fmla="*/ 452 h 478"/>
                <a:gd name="T44" fmla="*/ 190 w 422"/>
                <a:gd name="T45" fmla="*/ 464 h 478"/>
                <a:gd name="T46" fmla="*/ 206 w 422"/>
                <a:gd name="T47" fmla="*/ 458 h 478"/>
                <a:gd name="T48" fmla="*/ 216 w 422"/>
                <a:gd name="T49" fmla="*/ 444 h 478"/>
                <a:gd name="T50" fmla="*/ 228 w 422"/>
                <a:gd name="T51" fmla="*/ 440 h 478"/>
                <a:gd name="T52" fmla="*/ 236 w 422"/>
                <a:gd name="T53" fmla="*/ 460 h 478"/>
                <a:gd name="T54" fmla="*/ 250 w 422"/>
                <a:gd name="T55" fmla="*/ 462 h 478"/>
                <a:gd name="T56" fmla="*/ 264 w 422"/>
                <a:gd name="T57" fmla="*/ 478 h 478"/>
                <a:gd name="T58" fmla="*/ 288 w 422"/>
                <a:gd name="T59" fmla="*/ 470 h 478"/>
                <a:gd name="T60" fmla="*/ 290 w 422"/>
                <a:gd name="T61" fmla="*/ 452 h 478"/>
                <a:gd name="T62" fmla="*/ 300 w 422"/>
                <a:gd name="T63" fmla="*/ 446 h 478"/>
                <a:gd name="T64" fmla="*/ 292 w 422"/>
                <a:gd name="T65" fmla="*/ 426 h 478"/>
                <a:gd name="T66" fmla="*/ 306 w 422"/>
                <a:gd name="T67" fmla="*/ 396 h 478"/>
                <a:gd name="T68" fmla="*/ 316 w 422"/>
                <a:gd name="T69" fmla="*/ 396 h 478"/>
                <a:gd name="T70" fmla="*/ 320 w 422"/>
                <a:gd name="T71" fmla="*/ 410 h 478"/>
                <a:gd name="T72" fmla="*/ 328 w 422"/>
                <a:gd name="T73" fmla="*/ 400 h 478"/>
                <a:gd name="T74" fmla="*/ 334 w 422"/>
                <a:gd name="T75" fmla="*/ 402 h 478"/>
                <a:gd name="T76" fmla="*/ 326 w 422"/>
                <a:gd name="T77" fmla="*/ 384 h 478"/>
                <a:gd name="T78" fmla="*/ 332 w 422"/>
                <a:gd name="T79" fmla="*/ 380 h 478"/>
                <a:gd name="T80" fmla="*/ 330 w 422"/>
                <a:gd name="T81" fmla="*/ 370 h 478"/>
                <a:gd name="T82" fmla="*/ 336 w 422"/>
                <a:gd name="T83" fmla="*/ 358 h 478"/>
                <a:gd name="T84" fmla="*/ 346 w 422"/>
                <a:gd name="T85" fmla="*/ 354 h 478"/>
                <a:gd name="T86" fmla="*/ 356 w 422"/>
                <a:gd name="T87" fmla="*/ 336 h 478"/>
                <a:gd name="T88" fmla="*/ 366 w 422"/>
                <a:gd name="T89" fmla="*/ 344 h 478"/>
                <a:gd name="T90" fmla="*/ 378 w 422"/>
                <a:gd name="T91" fmla="*/ 334 h 478"/>
                <a:gd name="T92" fmla="*/ 408 w 422"/>
                <a:gd name="T93" fmla="*/ 302 h 478"/>
                <a:gd name="T94" fmla="*/ 410 w 422"/>
                <a:gd name="T95" fmla="*/ 288 h 478"/>
                <a:gd name="T96" fmla="*/ 404 w 422"/>
                <a:gd name="T97" fmla="*/ 282 h 478"/>
                <a:gd name="T98" fmla="*/ 410 w 422"/>
                <a:gd name="T99" fmla="*/ 270 h 478"/>
                <a:gd name="T100" fmla="*/ 408 w 422"/>
                <a:gd name="T101" fmla="*/ 264 h 478"/>
                <a:gd name="T102" fmla="*/ 412 w 422"/>
                <a:gd name="T103" fmla="*/ 262 h 478"/>
                <a:gd name="T104" fmla="*/ 412 w 422"/>
                <a:gd name="T105" fmla="*/ 240 h 478"/>
                <a:gd name="T106" fmla="*/ 420 w 422"/>
                <a:gd name="T107" fmla="*/ 210 h 478"/>
                <a:gd name="T108" fmla="*/ 416 w 422"/>
                <a:gd name="T109" fmla="*/ 200 h 478"/>
                <a:gd name="T110" fmla="*/ 418 w 422"/>
                <a:gd name="T111" fmla="*/ 192 h 478"/>
                <a:gd name="T112" fmla="*/ 408 w 422"/>
                <a:gd name="T113" fmla="*/ 176 h 478"/>
                <a:gd name="T114" fmla="*/ 410 w 422"/>
                <a:gd name="T115" fmla="*/ 172 h 478"/>
                <a:gd name="T116" fmla="*/ 422 w 422"/>
                <a:gd name="T117" fmla="*/ 168 h 478"/>
                <a:gd name="T118" fmla="*/ 422 w 422"/>
                <a:gd name="T119" fmla="*/ 168 h 478"/>
                <a:gd name="T120" fmla="*/ 396 w 422"/>
                <a:gd name="T121" fmla="*/ 0 h 478"/>
                <a:gd name="T122" fmla="*/ 372 w 422"/>
                <a:gd name="T123" fmla="*/ 8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22" h="478">
                  <a:moveTo>
                    <a:pt x="372" y="8"/>
                  </a:moveTo>
                  <a:lnTo>
                    <a:pt x="286" y="74"/>
                  </a:lnTo>
                  <a:lnTo>
                    <a:pt x="258" y="76"/>
                  </a:lnTo>
                  <a:lnTo>
                    <a:pt x="228" y="92"/>
                  </a:lnTo>
                  <a:lnTo>
                    <a:pt x="196" y="90"/>
                  </a:lnTo>
                  <a:lnTo>
                    <a:pt x="190" y="86"/>
                  </a:lnTo>
                  <a:lnTo>
                    <a:pt x="178" y="88"/>
                  </a:lnTo>
                  <a:lnTo>
                    <a:pt x="170" y="86"/>
                  </a:lnTo>
                  <a:lnTo>
                    <a:pt x="156" y="76"/>
                  </a:lnTo>
                  <a:lnTo>
                    <a:pt x="130" y="70"/>
                  </a:lnTo>
                  <a:lnTo>
                    <a:pt x="0" y="86"/>
                  </a:lnTo>
                  <a:lnTo>
                    <a:pt x="36" y="416"/>
                  </a:lnTo>
                  <a:lnTo>
                    <a:pt x="44" y="410"/>
                  </a:lnTo>
                  <a:lnTo>
                    <a:pt x="56" y="418"/>
                  </a:lnTo>
                  <a:lnTo>
                    <a:pt x="72" y="412"/>
                  </a:lnTo>
                  <a:lnTo>
                    <a:pt x="86" y="422"/>
                  </a:lnTo>
                  <a:lnTo>
                    <a:pt x="98" y="446"/>
                  </a:lnTo>
                  <a:lnTo>
                    <a:pt x="132" y="448"/>
                  </a:lnTo>
                  <a:lnTo>
                    <a:pt x="146" y="462"/>
                  </a:lnTo>
                  <a:lnTo>
                    <a:pt x="156" y="462"/>
                  </a:lnTo>
                  <a:lnTo>
                    <a:pt x="158" y="456"/>
                  </a:lnTo>
                  <a:lnTo>
                    <a:pt x="168" y="452"/>
                  </a:lnTo>
                  <a:lnTo>
                    <a:pt x="190" y="464"/>
                  </a:lnTo>
                  <a:lnTo>
                    <a:pt x="206" y="458"/>
                  </a:lnTo>
                  <a:lnTo>
                    <a:pt x="216" y="444"/>
                  </a:lnTo>
                  <a:lnTo>
                    <a:pt x="228" y="440"/>
                  </a:lnTo>
                  <a:lnTo>
                    <a:pt x="236" y="460"/>
                  </a:lnTo>
                  <a:lnTo>
                    <a:pt x="250" y="462"/>
                  </a:lnTo>
                  <a:lnTo>
                    <a:pt x="264" y="478"/>
                  </a:lnTo>
                  <a:lnTo>
                    <a:pt x="288" y="470"/>
                  </a:lnTo>
                  <a:lnTo>
                    <a:pt x="290" y="452"/>
                  </a:lnTo>
                  <a:lnTo>
                    <a:pt x="300" y="446"/>
                  </a:lnTo>
                  <a:lnTo>
                    <a:pt x="292" y="426"/>
                  </a:lnTo>
                  <a:lnTo>
                    <a:pt x="306" y="396"/>
                  </a:lnTo>
                  <a:lnTo>
                    <a:pt x="316" y="396"/>
                  </a:lnTo>
                  <a:lnTo>
                    <a:pt x="320" y="410"/>
                  </a:lnTo>
                  <a:lnTo>
                    <a:pt x="328" y="400"/>
                  </a:lnTo>
                  <a:lnTo>
                    <a:pt x="334" y="402"/>
                  </a:lnTo>
                  <a:lnTo>
                    <a:pt x="326" y="384"/>
                  </a:lnTo>
                  <a:lnTo>
                    <a:pt x="332" y="380"/>
                  </a:lnTo>
                  <a:lnTo>
                    <a:pt x="330" y="370"/>
                  </a:lnTo>
                  <a:lnTo>
                    <a:pt x="336" y="358"/>
                  </a:lnTo>
                  <a:lnTo>
                    <a:pt x="346" y="354"/>
                  </a:lnTo>
                  <a:lnTo>
                    <a:pt x="356" y="336"/>
                  </a:lnTo>
                  <a:lnTo>
                    <a:pt x="366" y="344"/>
                  </a:lnTo>
                  <a:lnTo>
                    <a:pt x="378" y="334"/>
                  </a:lnTo>
                  <a:lnTo>
                    <a:pt x="408" y="302"/>
                  </a:lnTo>
                  <a:lnTo>
                    <a:pt x="410" y="288"/>
                  </a:lnTo>
                  <a:lnTo>
                    <a:pt x="404" y="282"/>
                  </a:lnTo>
                  <a:lnTo>
                    <a:pt x="410" y="270"/>
                  </a:lnTo>
                  <a:lnTo>
                    <a:pt x="408" y="264"/>
                  </a:lnTo>
                  <a:lnTo>
                    <a:pt x="412" y="262"/>
                  </a:lnTo>
                  <a:lnTo>
                    <a:pt x="412" y="240"/>
                  </a:lnTo>
                  <a:lnTo>
                    <a:pt x="420" y="210"/>
                  </a:lnTo>
                  <a:lnTo>
                    <a:pt x="416" y="200"/>
                  </a:lnTo>
                  <a:lnTo>
                    <a:pt x="418" y="192"/>
                  </a:lnTo>
                  <a:lnTo>
                    <a:pt x="408" y="176"/>
                  </a:lnTo>
                  <a:lnTo>
                    <a:pt x="410" y="172"/>
                  </a:lnTo>
                  <a:lnTo>
                    <a:pt x="422" y="168"/>
                  </a:lnTo>
                  <a:lnTo>
                    <a:pt x="422" y="168"/>
                  </a:lnTo>
                  <a:lnTo>
                    <a:pt x="396" y="0"/>
                  </a:lnTo>
                  <a:lnTo>
                    <a:pt x="372" y="8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9" name="Freeform 256"/>
            <p:cNvSpPr>
              <a:spLocks/>
            </p:cNvSpPr>
            <p:nvPr/>
          </p:nvSpPr>
          <p:spPr bwMode="auto">
            <a:xfrm>
              <a:off x="4450557" y="4335682"/>
              <a:ext cx="83344" cy="88106"/>
            </a:xfrm>
            <a:custGeom>
              <a:avLst/>
              <a:gdLst>
                <a:gd name="T0" fmla="*/ 16 w 70"/>
                <a:gd name="T1" fmla="*/ 42 h 74"/>
                <a:gd name="T2" fmla="*/ 20 w 70"/>
                <a:gd name="T3" fmla="*/ 42 h 74"/>
                <a:gd name="T4" fmla="*/ 22 w 70"/>
                <a:gd name="T5" fmla="*/ 32 h 74"/>
                <a:gd name="T6" fmla="*/ 40 w 70"/>
                <a:gd name="T7" fmla="*/ 18 h 74"/>
                <a:gd name="T8" fmla="*/ 44 w 70"/>
                <a:gd name="T9" fmla="*/ 18 h 74"/>
                <a:gd name="T10" fmla="*/ 54 w 70"/>
                <a:gd name="T11" fmla="*/ 12 h 74"/>
                <a:gd name="T12" fmla="*/ 60 w 70"/>
                <a:gd name="T13" fmla="*/ 4 h 74"/>
                <a:gd name="T14" fmla="*/ 66 w 70"/>
                <a:gd name="T15" fmla="*/ 0 h 74"/>
                <a:gd name="T16" fmla="*/ 70 w 70"/>
                <a:gd name="T17" fmla="*/ 4 h 74"/>
                <a:gd name="T18" fmla="*/ 68 w 70"/>
                <a:gd name="T19" fmla="*/ 12 h 74"/>
                <a:gd name="T20" fmla="*/ 8 w 70"/>
                <a:gd name="T21" fmla="*/ 74 h 74"/>
                <a:gd name="T22" fmla="*/ 4 w 70"/>
                <a:gd name="T23" fmla="*/ 74 h 74"/>
                <a:gd name="T24" fmla="*/ 0 w 70"/>
                <a:gd name="T25" fmla="*/ 70 h 74"/>
                <a:gd name="T26" fmla="*/ 16 w 70"/>
                <a:gd name="T27" fmla="*/ 46 h 74"/>
                <a:gd name="T28" fmla="*/ 16 w 70"/>
                <a:gd name="T29" fmla="*/ 4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74">
                  <a:moveTo>
                    <a:pt x="16" y="42"/>
                  </a:moveTo>
                  <a:lnTo>
                    <a:pt x="20" y="42"/>
                  </a:lnTo>
                  <a:lnTo>
                    <a:pt x="22" y="32"/>
                  </a:lnTo>
                  <a:lnTo>
                    <a:pt x="40" y="18"/>
                  </a:lnTo>
                  <a:lnTo>
                    <a:pt x="44" y="18"/>
                  </a:lnTo>
                  <a:lnTo>
                    <a:pt x="54" y="12"/>
                  </a:lnTo>
                  <a:lnTo>
                    <a:pt x="60" y="4"/>
                  </a:lnTo>
                  <a:lnTo>
                    <a:pt x="66" y="0"/>
                  </a:lnTo>
                  <a:lnTo>
                    <a:pt x="70" y="4"/>
                  </a:lnTo>
                  <a:lnTo>
                    <a:pt x="68" y="12"/>
                  </a:lnTo>
                  <a:lnTo>
                    <a:pt x="8" y="74"/>
                  </a:lnTo>
                  <a:lnTo>
                    <a:pt x="4" y="74"/>
                  </a:lnTo>
                  <a:lnTo>
                    <a:pt x="0" y="70"/>
                  </a:lnTo>
                  <a:lnTo>
                    <a:pt x="16" y="46"/>
                  </a:lnTo>
                  <a:lnTo>
                    <a:pt x="16" y="42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0" name="Line 358"/>
            <p:cNvSpPr>
              <a:spLocks noChangeShapeType="1"/>
            </p:cNvSpPr>
            <p:nvPr/>
          </p:nvSpPr>
          <p:spPr bwMode="auto">
            <a:xfrm>
              <a:off x="3502820" y="4282103"/>
              <a:ext cx="1191" cy="1191"/>
            </a:xfrm>
            <a:prstGeom prst="line">
              <a:avLst/>
            </a:prstGeom>
            <a:noFill/>
            <a:ln w="12700">
              <a:solidFill>
                <a:srgbClr val="42A6CC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1" name="Line 360"/>
            <p:cNvSpPr>
              <a:spLocks noChangeShapeType="1"/>
            </p:cNvSpPr>
            <p:nvPr/>
          </p:nvSpPr>
          <p:spPr bwMode="auto">
            <a:xfrm>
              <a:off x="3707606" y="4265435"/>
              <a:ext cx="1191" cy="1191"/>
            </a:xfrm>
            <a:prstGeom prst="line">
              <a:avLst/>
            </a:prstGeom>
            <a:noFill/>
            <a:ln w="12700">
              <a:solidFill>
                <a:srgbClr val="42A6CC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2" name="Line 361"/>
            <p:cNvSpPr>
              <a:spLocks noChangeShapeType="1"/>
            </p:cNvSpPr>
            <p:nvPr/>
          </p:nvSpPr>
          <p:spPr bwMode="auto">
            <a:xfrm>
              <a:off x="3502820" y="4282103"/>
              <a:ext cx="1191" cy="1191"/>
            </a:xfrm>
            <a:prstGeom prst="line">
              <a:avLst/>
            </a:prstGeom>
            <a:noFill/>
            <a:ln w="12700">
              <a:solidFill>
                <a:srgbClr val="42A6CC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3" name="Freeform 196"/>
            <p:cNvSpPr>
              <a:spLocks/>
            </p:cNvSpPr>
            <p:nvPr/>
          </p:nvSpPr>
          <p:spPr bwMode="auto">
            <a:xfrm>
              <a:off x="5382817" y="2631897"/>
              <a:ext cx="873919" cy="444104"/>
            </a:xfrm>
            <a:custGeom>
              <a:avLst/>
              <a:gdLst>
                <a:gd name="T0" fmla="*/ 578 w 734"/>
                <a:gd name="T1" fmla="*/ 299 h 373"/>
                <a:gd name="T2" fmla="*/ 638 w 734"/>
                <a:gd name="T3" fmla="*/ 269 h 373"/>
                <a:gd name="T4" fmla="*/ 656 w 734"/>
                <a:gd name="T5" fmla="*/ 249 h 373"/>
                <a:gd name="T6" fmla="*/ 668 w 734"/>
                <a:gd name="T7" fmla="*/ 229 h 373"/>
                <a:gd name="T8" fmla="*/ 734 w 734"/>
                <a:gd name="T9" fmla="*/ 169 h 373"/>
                <a:gd name="T10" fmla="*/ 712 w 734"/>
                <a:gd name="T11" fmla="*/ 159 h 373"/>
                <a:gd name="T12" fmla="*/ 696 w 734"/>
                <a:gd name="T13" fmla="*/ 143 h 373"/>
                <a:gd name="T14" fmla="*/ 678 w 734"/>
                <a:gd name="T15" fmla="*/ 120 h 373"/>
                <a:gd name="T16" fmla="*/ 664 w 734"/>
                <a:gd name="T17" fmla="*/ 88 h 373"/>
                <a:gd name="T18" fmla="*/ 660 w 734"/>
                <a:gd name="T19" fmla="*/ 68 h 373"/>
                <a:gd name="T20" fmla="*/ 632 w 734"/>
                <a:gd name="T21" fmla="*/ 50 h 373"/>
                <a:gd name="T22" fmla="*/ 612 w 734"/>
                <a:gd name="T23" fmla="*/ 34 h 373"/>
                <a:gd name="T24" fmla="*/ 586 w 734"/>
                <a:gd name="T25" fmla="*/ 54 h 373"/>
                <a:gd name="T26" fmla="*/ 554 w 734"/>
                <a:gd name="T27" fmla="*/ 46 h 373"/>
                <a:gd name="T28" fmla="*/ 542 w 734"/>
                <a:gd name="T29" fmla="*/ 52 h 373"/>
                <a:gd name="T30" fmla="*/ 494 w 734"/>
                <a:gd name="T31" fmla="*/ 36 h 373"/>
                <a:gd name="T32" fmla="*/ 468 w 734"/>
                <a:gd name="T33" fmla="*/ 2 h 373"/>
                <a:gd name="T34" fmla="*/ 440 w 734"/>
                <a:gd name="T35" fmla="*/ 0 h 373"/>
                <a:gd name="T36" fmla="*/ 432 w 734"/>
                <a:gd name="T37" fmla="*/ 22 h 373"/>
                <a:gd name="T38" fmla="*/ 438 w 734"/>
                <a:gd name="T39" fmla="*/ 34 h 373"/>
                <a:gd name="T40" fmla="*/ 420 w 734"/>
                <a:gd name="T41" fmla="*/ 48 h 373"/>
                <a:gd name="T42" fmla="*/ 392 w 734"/>
                <a:gd name="T43" fmla="*/ 56 h 373"/>
                <a:gd name="T44" fmla="*/ 380 w 734"/>
                <a:gd name="T45" fmla="*/ 84 h 373"/>
                <a:gd name="T46" fmla="*/ 358 w 734"/>
                <a:gd name="T47" fmla="*/ 116 h 373"/>
                <a:gd name="T48" fmla="*/ 338 w 734"/>
                <a:gd name="T49" fmla="*/ 133 h 373"/>
                <a:gd name="T50" fmla="*/ 326 w 734"/>
                <a:gd name="T51" fmla="*/ 161 h 373"/>
                <a:gd name="T52" fmla="*/ 300 w 734"/>
                <a:gd name="T53" fmla="*/ 141 h 373"/>
                <a:gd name="T54" fmla="*/ 296 w 734"/>
                <a:gd name="T55" fmla="*/ 143 h 373"/>
                <a:gd name="T56" fmla="*/ 286 w 734"/>
                <a:gd name="T57" fmla="*/ 151 h 373"/>
                <a:gd name="T58" fmla="*/ 280 w 734"/>
                <a:gd name="T59" fmla="*/ 169 h 373"/>
                <a:gd name="T60" fmla="*/ 268 w 734"/>
                <a:gd name="T61" fmla="*/ 181 h 373"/>
                <a:gd name="T62" fmla="*/ 256 w 734"/>
                <a:gd name="T63" fmla="*/ 175 h 373"/>
                <a:gd name="T64" fmla="*/ 230 w 734"/>
                <a:gd name="T65" fmla="*/ 177 h 373"/>
                <a:gd name="T66" fmla="*/ 192 w 734"/>
                <a:gd name="T67" fmla="*/ 177 h 373"/>
                <a:gd name="T68" fmla="*/ 172 w 734"/>
                <a:gd name="T69" fmla="*/ 173 h 373"/>
                <a:gd name="T70" fmla="*/ 168 w 734"/>
                <a:gd name="T71" fmla="*/ 193 h 373"/>
                <a:gd name="T72" fmla="*/ 152 w 734"/>
                <a:gd name="T73" fmla="*/ 187 h 373"/>
                <a:gd name="T74" fmla="*/ 140 w 734"/>
                <a:gd name="T75" fmla="*/ 185 h 373"/>
                <a:gd name="T76" fmla="*/ 138 w 734"/>
                <a:gd name="T77" fmla="*/ 201 h 373"/>
                <a:gd name="T78" fmla="*/ 120 w 734"/>
                <a:gd name="T79" fmla="*/ 217 h 373"/>
                <a:gd name="T80" fmla="*/ 90 w 734"/>
                <a:gd name="T81" fmla="*/ 253 h 373"/>
                <a:gd name="T82" fmla="*/ 98 w 734"/>
                <a:gd name="T83" fmla="*/ 285 h 373"/>
                <a:gd name="T84" fmla="*/ 40 w 734"/>
                <a:gd name="T85" fmla="*/ 279 h 373"/>
                <a:gd name="T86" fmla="*/ 30 w 734"/>
                <a:gd name="T87" fmla="*/ 313 h 373"/>
                <a:gd name="T88" fmla="*/ 20 w 734"/>
                <a:gd name="T89" fmla="*/ 363 h 373"/>
                <a:gd name="T90" fmla="*/ 0 w 734"/>
                <a:gd name="T91" fmla="*/ 373 h 373"/>
                <a:gd name="T92" fmla="*/ 136 w 734"/>
                <a:gd name="T93" fmla="*/ 341 h 373"/>
                <a:gd name="T94" fmla="*/ 160 w 734"/>
                <a:gd name="T95" fmla="*/ 345 h 373"/>
                <a:gd name="T96" fmla="*/ 292 w 734"/>
                <a:gd name="T97" fmla="*/ 329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4" h="373">
                  <a:moveTo>
                    <a:pt x="432" y="315"/>
                  </a:moveTo>
                  <a:lnTo>
                    <a:pt x="578" y="299"/>
                  </a:lnTo>
                  <a:lnTo>
                    <a:pt x="632" y="283"/>
                  </a:lnTo>
                  <a:lnTo>
                    <a:pt x="638" y="269"/>
                  </a:lnTo>
                  <a:lnTo>
                    <a:pt x="656" y="261"/>
                  </a:lnTo>
                  <a:lnTo>
                    <a:pt x="656" y="249"/>
                  </a:lnTo>
                  <a:lnTo>
                    <a:pt x="670" y="241"/>
                  </a:lnTo>
                  <a:lnTo>
                    <a:pt x="668" y="229"/>
                  </a:lnTo>
                  <a:lnTo>
                    <a:pt x="734" y="169"/>
                  </a:lnTo>
                  <a:lnTo>
                    <a:pt x="734" y="169"/>
                  </a:lnTo>
                  <a:lnTo>
                    <a:pt x="718" y="167"/>
                  </a:lnTo>
                  <a:lnTo>
                    <a:pt x="712" y="159"/>
                  </a:lnTo>
                  <a:lnTo>
                    <a:pt x="700" y="155"/>
                  </a:lnTo>
                  <a:lnTo>
                    <a:pt x="696" y="143"/>
                  </a:lnTo>
                  <a:lnTo>
                    <a:pt x="678" y="126"/>
                  </a:lnTo>
                  <a:lnTo>
                    <a:pt x="678" y="120"/>
                  </a:lnTo>
                  <a:lnTo>
                    <a:pt x="658" y="100"/>
                  </a:lnTo>
                  <a:lnTo>
                    <a:pt x="664" y="88"/>
                  </a:lnTo>
                  <a:lnTo>
                    <a:pt x="660" y="68"/>
                  </a:lnTo>
                  <a:lnTo>
                    <a:pt x="660" y="68"/>
                  </a:lnTo>
                  <a:lnTo>
                    <a:pt x="646" y="52"/>
                  </a:lnTo>
                  <a:lnTo>
                    <a:pt x="632" y="50"/>
                  </a:lnTo>
                  <a:lnTo>
                    <a:pt x="624" y="30"/>
                  </a:lnTo>
                  <a:lnTo>
                    <a:pt x="612" y="34"/>
                  </a:lnTo>
                  <a:lnTo>
                    <a:pt x="602" y="48"/>
                  </a:lnTo>
                  <a:lnTo>
                    <a:pt x="586" y="54"/>
                  </a:lnTo>
                  <a:lnTo>
                    <a:pt x="564" y="42"/>
                  </a:lnTo>
                  <a:lnTo>
                    <a:pt x="554" y="46"/>
                  </a:lnTo>
                  <a:lnTo>
                    <a:pt x="552" y="52"/>
                  </a:lnTo>
                  <a:lnTo>
                    <a:pt x="542" y="52"/>
                  </a:lnTo>
                  <a:lnTo>
                    <a:pt x="528" y="38"/>
                  </a:lnTo>
                  <a:lnTo>
                    <a:pt x="494" y="36"/>
                  </a:lnTo>
                  <a:lnTo>
                    <a:pt x="482" y="12"/>
                  </a:lnTo>
                  <a:lnTo>
                    <a:pt x="468" y="2"/>
                  </a:lnTo>
                  <a:lnTo>
                    <a:pt x="452" y="8"/>
                  </a:lnTo>
                  <a:lnTo>
                    <a:pt x="440" y="0"/>
                  </a:lnTo>
                  <a:lnTo>
                    <a:pt x="426" y="12"/>
                  </a:lnTo>
                  <a:lnTo>
                    <a:pt x="432" y="22"/>
                  </a:lnTo>
                  <a:lnTo>
                    <a:pt x="428" y="32"/>
                  </a:lnTo>
                  <a:lnTo>
                    <a:pt x="438" y="34"/>
                  </a:lnTo>
                  <a:lnTo>
                    <a:pt x="436" y="46"/>
                  </a:lnTo>
                  <a:lnTo>
                    <a:pt x="420" y="48"/>
                  </a:lnTo>
                  <a:lnTo>
                    <a:pt x="402" y="62"/>
                  </a:lnTo>
                  <a:lnTo>
                    <a:pt x="392" y="56"/>
                  </a:lnTo>
                  <a:lnTo>
                    <a:pt x="376" y="60"/>
                  </a:lnTo>
                  <a:lnTo>
                    <a:pt x="380" y="84"/>
                  </a:lnTo>
                  <a:lnTo>
                    <a:pt x="362" y="96"/>
                  </a:lnTo>
                  <a:lnTo>
                    <a:pt x="358" y="116"/>
                  </a:lnTo>
                  <a:lnTo>
                    <a:pt x="342" y="120"/>
                  </a:lnTo>
                  <a:lnTo>
                    <a:pt x="338" y="133"/>
                  </a:lnTo>
                  <a:lnTo>
                    <a:pt x="336" y="151"/>
                  </a:lnTo>
                  <a:lnTo>
                    <a:pt x="326" y="161"/>
                  </a:lnTo>
                  <a:lnTo>
                    <a:pt x="302" y="151"/>
                  </a:lnTo>
                  <a:lnTo>
                    <a:pt x="300" y="141"/>
                  </a:lnTo>
                  <a:lnTo>
                    <a:pt x="290" y="135"/>
                  </a:lnTo>
                  <a:lnTo>
                    <a:pt x="296" y="143"/>
                  </a:lnTo>
                  <a:lnTo>
                    <a:pt x="282" y="145"/>
                  </a:lnTo>
                  <a:lnTo>
                    <a:pt x="286" y="151"/>
                  </a:lnTo>
                  <a:lnTo>
                    <a:pt x="278" y="157"/>
                  </a:lnTo>
                  <a:lnTo>
                    <a:pt x="280" y="169"/>
                  </a:lnTo>
                  <a:lnTo>
                    <a:pt x="272" y="173"/>
                  </a:lnTo>
                  <a:lnTo>
                    <a:pt x="268" y="181"/>
                  </a:lnTo>
                  <a:lnTo>
                    <a:pt x="266" y="175"/>
                  </a:lnTo>
                  <a:lnTo>
                    <a:pt x="256" y="175"/>
                  </a:lnTo>
                  <a:lnTo>
                    <a:pt x="248" y="165"/>
                  </a:lnTo>
                  <a:lnTo>
                    <a:pt x="230" y="177"/>
                  </a:lnTo>
                  <a:lnTo>
                    <a:pt x="222" y="193"/>
                  </a:lnTo>
                  <a:lnTo>
                    <a:pt x="192" y="177"/>
                  </a:lnTo>
                  <a:lnTo>
                    <a:pt x="176" y="181"/>
                  </a:lnTo>
                  <a:lnTo>
                    <a:pt x="172" y="173"/>
                  </a:lnTo>
                  <a:lnTo>
                    <a:pt x="174" y="189"/>
                  </a:lnTo>
                  <a:lnTo>
                    <a:pt x="168" y="193"/>
                  </a:lnTo>
                  <a:lnTo>
                    <a:pt x="164" y="183"/>
                  </a:lnTo>
                  <a:lnTo>
                    <a:pt x="152" y="187"/>
                  </a:lnTo>
                  <a:lnTo>
                    <a:pt x="144" y="181"/>
                  </a:lnTo>
                  <a:lnTo>
                    <a:pt x="140" y="185"/>
                  </a:lnTo>
                  <a:lnTo>
                    <a:pt x="144" y="195"/>
                  </a:lnTo>
                  <a:lnTo>
                    <a:pt x="138" y="201"/>
                  </a:lnTo>
                  <a:lnTo>
                    <a:pt x="130" y="197"/>
                  </a:lnTo>
                  <a:lnTo>
                    <a:pt x="120" y="217"/>
                  </a:lnTo>
                  <a:lnTo>
                    <a:pt x="128" y="239"/>
                  </a:lnTo>
                  <a:lnTo>
                    <a:pt x="90" y="253"/>
                  </a:lnTo>
                  <a:lnTo>
                    <a:pt x="88" y="267"/>
                  </a:lnTo>
                  <a:lnTo>
                    <a:pt x="98" y="285"/>
                  </a:lnTo>
                  <a:lnTo>
                    <a:pt x="88" y="295"/>
                  </a:lnTo>
                  <a:lnTo>
                    <a:pt x="40" y="279"/>
                  </a:lnTo>
                  <a:lnTo>
                    <a:pt x="24" y="299"/>
                  </a:lnTo>
                  <a:lnTo>
                    <a:pt x="30" y="313"/>
                  </a:lnTo>
                  <a:lnTo>
                    <a:pt x="30" y="337"/>
                  </a:lnTo>
                  <a:lnTo>
                    <a:pt x="20" y="363"/>
                  </a:lnTo>
                  <a:lnTo>
                    <a:pt x="6" y="357"/>
                  </a:lnTo>
                  <a:lnTo>
                    <a:pt x="0" y="373"/>
                  </a:lnTo>
                  <a:lnTo>
                    <a:pt x="142" y="365"/>
                  </a:lnTo>
                  <a:lnTo>
                    <a:pt x="136" y="341"/>
                  </a:lnTo>
                  <a:lnTo>
                    <a:pt x="158" y="341"/>
                  </a:lnTo>
                  <a:lnTo>
                    <a:pt x="160" y="345"/>
                  </a:lnTo>
                  <a:lnTo>
                    <a:pt x="288" y="335"/>
                  </a:lnTo>
                  <a:lnTo>
                    <a:pt x="292" y="329"/>
                  </a:lnTo>
                  <a:lnTo>
                    <a:pt x="432" y="315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4" name="Freeform 237"/>
            <p:cNvSpPr>
              <a:spLocks/>
            </p:cNvSpPr>
            <p:nvPr/>
          </p:nvSpPr>
          <p:spPr bwMode="auto">
            <a:xfrm>
              <a:off x="2452689" y="2050872"/>
              <a:ext cx="678656" cy="844154"/>
            </a:xfrm>
            <a:custGeom>
              <a:avLst/>
              <a:gdLst>
                <a:gd name="T0" fmla="*/ 186 w 570"/>
                <a:gd name="T1" fmla="*/ 10 h 709"/>
                <a:gd name="T2" fmla="*/ 402 w 570"/>
                <a:gd name="T3" fmla="*/ 50 h 709"/>
                <a:gd name="T4" fmla="*/ 382 w 570"/>
                <a:gd name="T5" fmla="*/ 176 h 709"/>
                <a:gd name="T6" fmla="*/ 570 w 570"/>
                <a:gd name="T7" fmla="*/ 206 h 709"/>
                <a:gd name="T8" fmla="*/ 494 w 570"/>
                <a:gd name="T9" fmla="*/ 709 h 709"/>
                <a:gd name="T10" fmla="*/ 74 w 570"/>
                <a:gd name="T11" fmla="*/ 637 h 709"/>
                <a:gd name="T12" fmla="*/ 0 w 570"/>
                <a:gd name="T13" fmla="*/ 621 h 709"/>
                <a:gd name="T14" fmla="*/ 126 w 570"/>
                <a:gd name="T15" fmla="*/ 0 h 709"/>
                <a:gd name="T16" fmla="*/ 186 w 570"/>
                <a:gd name="T17" fmla="*/ 1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709">
                  <a:moveTo>
                    <a:pt x="186" y="10"/>
                  </a:moveTo>
                  <a:lnTo>
                    <a:pt x="402" y="50"/>
                  </a:lnTo>
                  <a:lnTo>
                    <a:pt x="382" y="176"/>
                  </a:lnTo>
                  <a:lnTo>
                    <a:pt x="570" y="206"/>
                  </a:lnTo>
                  <a:lnTo>
                    <a:pt x="494" y="709"/>
                  </a:lnTo>
                  <a:lnTo>
                    <a:pt x="74" y="637"/>
                  </a:lnTo>
                  <a:lnTo>
                    <a:pt x="0" y="621"/>
                  </a:lnTo>
                  <a:lnTo>
                    <a:pt x="126" y="0"/>
                  </a:lnTo>
                  <a:lnTo>
                    <a:pt x="186" y="1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5" name="Freeform 221"/>
            <p:cNvSpPr>
              <a:spLocks/>
            </p:cNvSpPr>
            <p:nvPr/>
          </p:nvSpPr>
          <p:spPr bwMode="auto">
            <a:xfrm>
              <a:off x="2907507" y="1665109"/>
              <a:ext cx="845344" cy="700088"/>
            </a:xfrm>
            <a:custGeom>
              <a:avLst/>
              <a:gdLst>
                <a:gd name="T0" fmla="*/ 630 w 710"/>
                <a:gd name="T1" fmla="*/ 74 h 588"/>
                <a:gd name="T2" fmla="*/ 86 w 710"/>
                <a:gd name="T3" fmla="*/ 0 h 588"/>
                <a:gd name="T4" fmla="*/ 0 w 710"/>
                <a:gd name="T5" fmla="*/ 500 h 588"/>
                <a:gd name="T6" fmla="*/ 188 w 710"/>
                <a:gd name="T7" fmla="*/ 530 h 588"/>
                <a:gd name="T8" fmla="*/ 662 w 710"/>
                <a:gd name="T9" fmla="*/ 588 h 588"/>
                <a:gd name="T10" fmla="*/ 710 w 710"/>
                <a:gd name="T11" fmla="*/ 82 h 588"/>
                <a:gd name="T12" fmla="*/ 630 w 710"/>
                <a:gd name="T13" fmla="*/ 74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0" h="588">
                  <a:moveTo>
                    <a:pt x="630" y="74"/>
                  </a:moveTo>
                  <a:lnTo>
                    <a:pt x="86" y="0"/>
                  </a:lnTo>
                  <a:lnTo>
                    <a:pt x="0" y="500"/>
                  </a:lnTo>
                  <a:lnTo>
                    <a:pt x="188" y="530"/>
                  </a:lnTo>
                  <a:lnTo>
                    <a:pt x="662" y="588"/>
                  </a:lnTo>
                  <a:lnTo>
                    <a:pt x="710" y="82"/>
                  </a:lnTo>
                  <a:lnTo>
                    <a:pt x="630" y="74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6" name="Freeform 208"/>
            <p:cNvSpPr>
              <a:spLocks/>
            </p:cNvSpPr>
            <p:nvPr/>
          </p:nvSpPr>
          <p:spPr bwMode="auto">
            <a:xfrm>
              <a:off x="2583657" y="979310"/>
              <a:ext cx="1226344" cy="783431"/>
            </a:xfrm>
            <a:custGeom>
              <a:avLst/>
              <a:gdLst>
                <a:gd name="T0" fmla="*/ 358 w 1030"/>
                <a:gd name="T1" fmla="*/ 576 h 658"/>
                <a:gd name="T2" fmla="*/ 334 w 1030"/>
                <a:gd name="T3" fmla="*/ 624 h 658"/>
                <a:gd name="T4" fmla="*/ 324 w 1030"/>
                <a:gd name="T5" fmla="*/ 602 h 658"/>
                <a:gd name="T6" fmla="*/ 314 w 1030"/>
                <a:gd name="T7" fmla="*/ 612 h 658"/>
                <a:gd name="T8" fmla="*/ 310 w 1030"/>
                <a:gd name="T9" fmla="*/ 626 h 658"/>
                <a:gd name="T10" fmla="*/ 280 w 1030"/>
                <a:gd name="T11" fmla="*/ 624 h 658"/>
                <a:gd name="T12" fmla="*/ 256 w 1030"/>
                <a:gd name="T13" fmla="*/ 618 h 658"/>
                <a:gd name="T14" fmla="*/ 234 w 1030"/>
                <a:gd name="T15" fmla="*/ 614 h 658"/>
                <a:gd name="T16" fmla="*/ 202 w 1030"/>
                <a:gd name="T17" fmla="*/ 612 h 658"/>
                <a:gd name="T18" fmla="*/ 186 w 1030"/>
                <a:gd name="T19" fmla="*/ 618 h 658"/>
                <a:gd name="T20" fmla="*/ 184 w 1030"/>
                <a:gd name="T21" fmla="*/ 626 h 658"/>
                <a:gd name="T22" fmla="*/ 174 w 1030"/>
                <a:gd name="T23" fmla="*/ 602 h 658"/>
                <a:gd name="T24" fmla="*/ 172 w 1030"/>
                <a:gd name="T25" fmla="*/ 586 h 658"/>
                <a:gd name="T26" fmla="*/ 160 w 1030"/>
                <a:gd name="T27" fmla="*/ 562 h 658"/>
                <a:gd name="T28" fmla="*/ 144 w 1030"/>
                <a:gd name="T29" fmla="*/ 554 h 658"/>
                <a:gd name="T30" fmla="*/ 146 w 1030"/>
                <a:gd name="T31" fmla="*/ 540 h 658"/>
                <a:gd name="T32" fmla="*/ 144 w 1030"/>
                <a:gd name="T33" fmla="*/ 520 h 658"/>
                <a:gd name="T34" fmla="*/ 138 w 1030"/>
                <a:gd name="T35" fmla="*/ 508 h 658"/>
                <a:gd name="T36" fmla="*/ 132 w 1030"/>
                <a:gd name="T37" fmla="*/ 484 h 658"/>
                <a:gd name="T38" fmla="*/ 132 w 1030"/>
                <a:gd name="T39" fmla="*/ 468 h 658"/>
                <a:gd name="T40" fmla="*/ 130 w 1030"/>
                <a:gd name="T41" fmla="*/ 456 h 658"/>
                <a:gd name="T42" fmla="*/ 114 w 1030"/>
                <a:gd name="T43" fmla="*/ 446 h 658"/>
                <a:gd name="T44" fmla="*/ 90 w 1030"/>
                <a:gd name="T45" fmla="*/ 456 h 658"/>
                <a:gd name="T46" fmla="*/ 72 w 1030"/>
                <a:gd name="T47" fmla="*/ 450 h 658"/>
                <a:gd name="T48" fmla="*/ 72 w 1030"/>
                <a:gd name="T49" fmla="*/ 430 h 658"/>
                <a:gd name="T50" fmla="*/ 86 w 1030"/>
                <a:gd name="T51" fmla="*/ 410 h 658"/>
                <a:gd name="T52" fmla="*/ 86 w 1030"/>
                <a:gd name="T53" fmla="*/ 398 h 658"/>
                <a:gd name="T54" fmla="*/ 86 w 1030"/>
                <a:gd name="T55" fmla="*/ 382 h 658"/>
                <a:gd name="T56" fmla="*/ 90 w 1030"/>
                <a:gd name="T57" fmla="*/ 372 h 658"/>
                <a:gd name="T58" fmla="*/ 102 w 1030"/>
                <a:gd name="T59" fmla="*/ 340 h 658"/>
                <a:gd name="T60" fmla="*/ 106 w 1030"/>
                <a:gd name="T61" fmla="*/ 332 h 658"/>
                <a:gd name="T62" fmla="*/ 88 w 1030"/>
                <a:gd name="T63" fmla="*/ 314 h 658"/>
                <a:gd name="T64" fmla="*/ 86 w 1030"/>
                <a:gd name="T65" fmla="*/ 304 h 658"/>
                <a:gd name="T66" fmla="*/ 74 w 1030"/>
                <a:gd name="T67" fmla="*/ 302 h 658"/>
                <a:gd name="T68" fmla="*/ 66 w 1030"/>
                <a:gd name="T69" fmla="*/ 284 h 658"/>
                <a:gd name="T70" fmla="*/ 58 w 1030"/>
                <a:gd name="T71" fmla="*/ 262 h 658"/>
                <a:gd name="T72" fmla="*/ 28 w 1030"/>
                <a:gd name="T73" fmla="*/ 216 h 658"/>
                <a:gd name="T74" fmla="*/ 12 w 1030"/>
                <a:gd name="T75" fmla="*/ 196 h 658"/>
                <a:gd name="T76" fmla="*/ 14 w 1030"/>
                <a:gd name="T77" fmla="*/ 180 h 658"/>
                <a:gd name="T78" fmla="*/ 20 w 1030"/>
                <a:gd name="T79" fmla="*/ 162 h 658"/>
                <a:gd name="T80" fmla="*/ 26 w 1030"/>
                <a:gd name="T81" fmla="*/ 0 h 658"/>
                <a:gd name="T82" fmla="*/ 528 w 1030"/>
                <a:gd name="T83" fmla="*/ 98 h 658"/>
                <a:gd name="T84" fmla="*/ 982 w 1030"/>
                <a:gd name="T85" fmla="*/ 658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30" h="658">
                  <a:moveTo>
                    <a:pt x="902" y="650"/>
                  </a:moveTo>
                  <a:lnTo>
                    <a:pt x="358" y="576"/>
                  </a:lnTo>
                  <a:lnTo>
                    <a:pt x="346" y="638"/>
                  </a:lnTo>
                  <a:lnTo>
                    <a:pt x="334" y="624"/>
                  </a:lnTo>
                  <a:lnTo>
                    <a:pt x="328" y="606"/>
                  </a:lnTo>
                  <a:lnTo>
                    <a:pt x="324" y="602"/>
                  </a:lnTo>
                  <a:lnTo>
                    <a:pt x="314" y="606"/>
                  </a:lnTo>
                  <a:lnTo>
                    <a:pt x="314" y="612"/>
                  </a:lnTo>
                  <a:lnTo>
                    <a:pt x="308" y="618"/>
                  </a:lnTo>
                  <a:lnTo>
                    <a:pt x="310" y="626"/>
                  </a:lnTo>
                  <a:lnTo>
                    <a:pt x="292" y="620"/>
                  </a:lnTo>
                  <a:lnTo>
                    <a:pt x="280" y="624"/>
                  </a:lnTo>
                  <a:lnTo>
                    <a:pt x="274" y="618"/>
                  </a:lnTo>
                  <a:lnTo>
                    <a:pt x="256" y="618"/>
                  </a:lnTo>
                  <a:lnTo>
                    <a:pt x="242" y="610"/>
                  </a:lnTo>
                  <a:lnTo>
                    <a:pt x="234" y="614"/>
                  </a:lnTo>
                  <a:lnTo>
                    <a:pt x="226" y="622"/>
                  </a:lnTo>
                  <a:lnTo>
                    <a:pt x="202" y="612"/>
                  </a:lnTo>
                  <a:lnTo>
                    <a:pt x="194" y="612"/>
                  </a:lnTo>
                  <a:lnTo>
                    <a:pt x="186" y="618"/>
                  </a:lnTo>
                  <a:lnTo>
                    <a:pt x="188" y="624"/>
                  </a:lnTo>
                  <a:lnTo>
                    <a:pt x="184" y="626"/>
                  </a:lnTo>
                  <a:lnTo>
                    <a:pt x="172" y="612"/>
                  </a:lnTo>
                  <a:lnTo>
                    <a:pt x="174" y="602"/>
                  </a:lnTo>
                  <a:lnTo>
                    <a:pt x="168" y="592"/>
                  </a:lnTo>
                  <a:lnTo>
                    <a:pt x="172" y="586"/>
                  </a:lnTo>
                  <a:lnTo>
                    <a:pt x="168" y="570"/>
                  </a:lnTo>
                  <a:lnTo>
                    <a:pt x="160" y="562"/>
                  </a:lnTo>
                  <a:lnTo>
                    <a:pt x="150" y="564"/>
                  </a:lnTo>
                  <a:lnTo>
                    <a:pt x="144" y="554"/>
                  </a:lnTo>
                  <a:lnTo>
                    <a:pt x="140" y="544"/>
                  </a:lnTo>
                  <a:lnTo>
                    <a:pt x="146" y="540"/>
                  </a:lnTo>
                  <a:lnTo>
                    <a:pt x="146" y="534"/>
                  </a:lnTo>
                  <a:lnTo>
                    <a:pt x="144" y="520"/>
                  </a:lnTo>
                  <a:lnTo>
                    <a:pt x="138" y="520"/>
                  </a:lnTo>
                  <a:lnTo>
                    <a:pt x="138" y="508"/>
                  </a:lnTo>
                  <a:lnTo>
                    <a:pt x="130" y="494"/>
                  </a:lnTo>
                  <a:lnTo>
                    <a:pt x="132" y="484"/>
                  </a:lnTo>
                  <a:lnTo>
                    <a:pt x="128" y="478"/>
                  </a:lnTo>
                  <a:lnTo>
                    <a:pt x="132" y="468"/>
                  </a:lnTo>
                  <a:lnTo>
                    <a:pt x="126" y="464"/>
                  </a:lnTo>
                  <a:lnTo>
                    <a:pt x="130" y="456"/>
                  </a:lnTo>
                  <a:lnTo>
                    <a:pt x="116" y="440"/>
                  </a:lnTo>
                  <a:lnTo>
                    <a:pt x="114" y="446"/>
                  </a:lnTo>
                  <a:lnTo>
                    <a:pt x="102" y="454"/>
                  </a:lnTo>
                  <a:lnTo>
                    <a:pt x="90" y="456"/>
                  </a:lnTo>
                  <a:lnTo>
                    <a:pt x="82" y="462"/>
                  </a:lnTo>
                  <a:lnTo>
                    <a:pt x="72" y="450"/>
                  </a:lnTo>
                  <a:lnTo>
                    <a:pt x="64" y="446"/>
                  </a:lnTo>
                  <a:lnTo>
                    <a:pt x="72" y="430"/>
                  </a:lnTo>
                  <a:lnTo>
                    <a:pt x="68" y="420"/>
                  </a:lnTo>
                  <a:lnTo>
                    <a:pt x="86" y="410"/>
                  </a:lnTo>
                  <a:lnTo>
                    <a:pt x="84" y="404"/>
                  </a:lnTo>
                  <a:lnTo>
                    <a:pt x="86" y="398"/>
                  </a:lnTo>
                  <a:lnTo>
                    <a:pt x="80" y="394"/>
                  </a:lnTo>
                  <a:lnTo>
                    <a:pt x="86" y="382"/>
                  </a:lnTo>
                  <a:lnTo>
                    <a:pt x="82" y="374"/>
                  </a:lnTo>
                  <a:lnTo>
                    <a:pt x="90" y="372"/>
                  </a:lnTo>
                  <a:lnTo>
                    <a:pt x="90" y="362"/>
                  </a:lnTo>
                  <a:lnTo>
                    <a:pt x="102" y="340"/>
                  </a:lnTo>
                  <a:lnTo>
                    <a:pt x="100" y="334"/>
                  </a:lnTo>
                  <a:lnTo>
                    <a:pt x="106" y="332"/>
                  </a:lnTo>
                  <a:lnTo>
                    <a:pt x="110" y="316"/>
                  </a:lnTo>
                  <a:lnTo>
                    <a:pt x="88" y="314"/>
                  </a:lnTo>
                  <a:lnTo>
                    <a:pt x="84" y="308"/>
                  </a:lnTo>
                  <a:lnTo>
                    <a:pt x="86" y="304"/>
                  </a:lnTo>
                  <a:lnTo>
                    <a:pt x="84" y="298"/>
                  </a:lnTo>
                  <a:lnTo>
                    <a:pt x="74" y="302"/>
                  </a:lnTo>
                  <a:lnTo>
                    <a:pt x="76" y="294"/>
                  </a:lnTo>
                  <a:lnTo>
                    <a:pt x="66" y="284"/>
                  </a:lnTo>
                  <a:lnTo>
                    <a:pt x="66" y="272"/>
                  </a:lnTo>
                  <a:lnTo>
                    <a:pt x="58" y="262"/>
                  </a:lnTo>
                  <a:lnTo>
                    <a:pt x="42" y="224"/>
                  </a:lnTo>
                  <a:lnTo>
                    <a:pt x="28" y="216"/>
                  </a:lnTo>
                  <a:lnTo>
                    <a:pt x="22" y="204"/>
                  </a:lnTo>
                  <a:lnTo>
                    <a:pt x="12" y="196"/>
                  </a:lnTo>
                  <a:lnTo>
                    <a:pt x="20" y="190"/>
                  </a:lnTo>
                  <a:lnTo>
                    <a:pt x="14" y="180"/>
                  </a:lnTo>
                  <a:lnTo>
                    <a:pt x="20" y="174"/>
                  </a:lnTo>
                  <a:lnTo>
                    <a:pt x="20" y="162"/>
                  </a:lnTo>
                  <a:lnTo>
                    <a:pt x="0" y="120"/>
                  </a:lnTo>
                  <a:lnTo>
                    <a:pt x="26" y="0"/>
                  </a:lnTo>
                  <a:lnTo>
                    <a:pt x="190" y="36"/>
                  </a:lnTo>
                  <a:lnTo>
                    <a:pt x="528" y="98"/>
                  </a:lnTo>
                  <a:lnTo>
                    <a:pt x="1030" y="162"/>
                  </a:lnTo>
                  <a:lnTo>
                    <a:pt x="982" y="658"/>
                  </a:lnTo>
                  <a:lnTo>
                    <a:pt x="902" y="650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cxnSp>
          <p:nvCxnSpPr>
            <p:cNvPr id="77" name="Straight Connector 76"/>
            <p:cNvCxnSpPr>
              <a:endCxn id="75" idx="4"/>
            </p:cNvCxnSpPr>
            <p:nvPr/>
          </p:nvCxnSpPr>
          <p:spPr>
            <a:xfrm flipH="1">
              <a:off x="3695700" y="1172191"/>
              <a:ext cx="114300" cy="119300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Freeform 217"/>
            <p:cNvSpPr>
              <a:spLocks/>
            </p:cNvSpPr>
            <p:nvPr/>
          </p:nvSpPr>
          <p:spPr bwMode="auto">
            <a:xfrm>
              <a:off x="6070999" y="2479498"/>
              <a:ext cx="931069" cy="508397"/>
            </a:xfrm>
            <a:custGeom>
              <a:avLst/>
              <a:gdLst>
                <a:gd name="T0" fmla="*/ 202 w 782"/>
                <a:gd name="T1" fmla="*/ 401 h 427"/>
                <a:gd name="T2" fmla="*/ 54 w 782"/>
                <a:gd name="T3" fmla="*/ 411 h 427"/>
                <a:gd name="T4" fmla="*/ 78 w 782"/>
                <a:gd name="T5" fmla="*/ 389 h 427"/>
                <a:gd name="T6" fmla="*/ 92 w 782"/>
                <a:gd name="T7" fmla="*/ 369 h 427"/>
                <a:gd name="T8" fmla="*/ 156 w 782"/>
                <a:gd name="T9" fmla="*/ 297 h 427"/>
                <a:gd name="T10" fmla="*/ 160 w 782"/>
                <a:gd name="T11" fmla="*/ 299 h 427"/>
                <a:gd name="T12" fmla="*/ 162 w 782"/>
                <a:gd name="T13" fmla="*/ 309 h 427"/>
                <a:gd name="T14" fmla="*/ 174 w 782"/>
                <a:gd name="T15" fmla="*/ 325 h 427"/>
                <a:gd name="T16" fmla="*/ 216 w 782"/>
                <a:gd name="T17" fmla="*/ 321 h 427"/>
                <a:gd name="T18" fmla="*/ 236 w 782"/>
                <a:gd name="T19" fmla="*/ 323 h 427"/>
                <a:gd name="T20" fmla="*/ 270 w 782"/>
                <a:gd name="T21" fmla="*/ 305 h 427"/>
                <a:gd name="T22" fmla="*/ 268 w 782"/>
                <a:gd name="T23" fmla="*/ 295 h 427"/>
                <a:gd name="T24" fmla="*/ 300 w 782"/>
                <a:gd name="T25" fmla="*/ 285 h 427"/>
                <a:gd name="T26" fmla="*/ 324 w 782"/>
                <a:gd name="T27" fmla="*/ 273 h 427"/>
                <a:gd name="T28" fmla="*/ 328 w 782"/>
                <a:gd name="T29" fmla="*/ 259 h 427"/>
                <a:gd name="T30" fmla="*/ 342 w 782"/>
                <a:gd name="T31" fmla="*/ 208 h 427"/>
                <a:gd name="T32" fmla="*/ 356 w 782"/>
                <a:gd name="T33" fmla="*/ 174 h 427"/>
                <a:gd name="T34" fmla="*/ 362 w 782"/>
                <a:gd name="T35" fmla="*/ 152 h 427"/>
                <a:gd name="T36" fmla="*/ 374 w 782"/>
                <a:gd name="T37" fmla="*/ 132 h 427"/>
                <a:gd name="T38" fmla="*/ 402 w 782"/>
                <a:gd name="T39" fmla="*/ 146 h 427"/>
                <a:gd name="T40" fmla="*/ 436 w 782"/>
                <a:gd name="T41" fmla="*/ 94 h 427"/>
                <a:gd name="T42" fmla="*/ 448 w 782"/>
                <a:gd name="T43" fmla="*/ 74 h 427"/>
                <a:gd name="T44" fmla="*/ 470 w 782"/>
                <a:gd name="T45" fmla="*/ 40 h 427"/>
                <a:gd name="T46" fmla="*/ 526 w 782"/>
                <a:gd name="T47" fmla="*/ 30 h 427"/>
                <a:gd name="T48" fmla="*/ 550 w 782"/>
                <a:gd name="T49" fmla="*/ 6 h 427"/>
                <a:gd name="T50" fmla="*/ 558 w 782"/>
                <a:gd name="T51" fmla="*/ 26 h 427"/>
                <a:gd name="T52" fmla="*/ 584 w 782"/>
                <a:gd name="T53" fmla="*/ 34 h 427"/>
                <a:gd name="T54" fmla="*/ 600 w 782"/>
                <a:gd name="T55" fmla="*/ 44 h 427"/>
                <a:gd name="T56" fmla="*/ 606 w 782"/>
                <a:gd name="T57" fmla="*/ 46 h 427"/>
                <a:gd name="T58" fmla="*/ 614 w 782"/>
                <a:gd name="T59" fmla="*/ 68 h 427"/>
                <a:gd name="T60" fmla="*/ 606 w 782"/>
                <a:gd name="T61" fmla="*/ 86 h 427"/>
                <a:gd name="T62" fmla="*/ 596 w 782"/>
                <a:gd name="T63" fmla="*/ 104 h 427"/>
                <a:gd name="T64" fmla="*/ 602 w 782"/>
                <a:gd name="T65" fmla="*/ 114 h 427"/>
                <a:gd name="T66" fmla="*/ 654 w 782"/>
                <a:gd name="T67" fmla="*/ 136 h 427"/>
                <a:gd name="T68" fmla="*/ 708 w 782"/>
                <a:gd name="T69" fmla="*/ 154 h 427"/>
                <a:gd name="T70" fmla="*/ 712 w 782"/>
                <a:gd name="T71" fmla="*/ 188 h 427"/>
                <a:gd name="T72" fmla="*/ 710 w 782"/>
                <a:gd name="T73" fmla="*/ 208 h 427"/>
                <a:gd name="T74" fmla="*/ 730 w 782"/>
                <a:gd name="T75" fmla="*/ 226 h 427"/>
                <a:gd name="T76" fmla="*/ 716 w 782"/>
                <a:gd name="T77" fmla="*/ 232 h 427"/>
                <a:gd name="T78" fmla="*/ 724 w 782"/>
                <a:gd name="T79" fmla="*/ 248 h 427"/>
                <a:gd name="T80" fmla="*/ 738 w 782"/>
                <a:gd name="T81" fmla="*/ 258 h 427"/>
                <a:gd name="T82" fmla="*/ 712 w 782"/>
                <a:gd name="T83" fmla="*/ 267 h 427"/>
                <a:gd name="T84" fmla="*/ 724 w 782"/>
                <a:gd name="T85" fmla="*/ 281 h 427"/>
                <a:gd name="T86" fmla="*/ 738 w 782"/>
                <a:gd name="T87" fmla="*/ 277 h 427"/>
                <a:gd name="T88" fmla="*/ 774 w 782"/>
                <a:gd name="T89" fmla="*/ 277 h 427"/>
                <a:gd name="T90" fmla="*/ 704 w 782"/>
                <a:gd name="T91" fmla="*/ 31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82" h="427">
                  <a:moveTo>
                    <a:pt x="704" y="317"/>
                  </a:moveTo>
                  <a:lnTo>
                    <a:pt x="202" y="401"/>
                  </a:lnTo>
                  <a:lnTo>
                    <a:pt x="0" y="427"/>
                  </a:lnTo>
                  <a:lnTo>
                    <a:pt x="54" y="411"/>
                  </a:lnTo>
                  <a:lnTo>
                    <a:pt x="60" y="397"/>
                  </a:lnTo>
                  <a:lnTo>
                    <a:pt x="78" y="389"/>
                  </a:lnTo>
                  <a:lnTo>
                    <a:pt x="78" y="377"/>
                  </a:lnTo>
                  <a:lnTo>
                    <a:pt x="92" y="369"/>
                  </a:lnTo>
                  <a:lnTo>
                    <a:pt x="90" y="357"/>
                  </a:lnTo>
                  <a:lnTo>
                    <a:pt x="156" y="297"/>
                  </a:lnTo>
                  <a:lnTo>
                    <a:pt x="156" y="297"/>
                  </a:lnTo>
                  <a:lnTo>
                    <a:pt x="160" y="299"/>
                  </a:lnTo>
                  <a:lnTo>
                    <a:pt x="156" y="305"/>
                  </a:lnTo>
                  <a:lnTo>
                    <a:pt x="162" y="309"/>
                  </a:lnTo>
                  <a:lnTo>
                    <a:pt x="164" y="317"/>
                  </a:lnTo>
                  <a:lnTo>
                    <a:pt x="174" y="325"/>
                  </a:lnTo>
                  <a:lnTo>
                    <a:pt x="196" y="333"/>
                  </a:lnTo>
                  <a:lnTo>
                    <a:pt x="216" y="321"/>
                  </a:lnTo>
                  <a:lnTo>
                    <a:pt x="220" y="313"/>
                  </a:lnTo>
                  <a:lnTo>
                    <a:pt x="236" y="323"/>
                  </a:lnTo>
                  <a:lnTo>
                    <a:pt x="266" y="309"/>
                  </a:lnTo>
                  <a:lnTo>
                    <a:pt x="270" y="305"/>
                  </a:lnTo>
                  <a:lnTo>
                    <a:pt x="266" y="299"/>
                  </a:lnTo>
                  <a:lnTo>
                    <a:pt x="268" y="295"/>
                  </a:lnTo>
                  <a:lnTo>
                    <a:pt x="280" y="299"/>
                  </a:lnTo>
                  <a:lnTo>
                    <a:pt x="300" y="285"/>
                  </a:lnTo>
                  <a:lnTo>
                    <a:pt x="308" y="289"/>
                  </a:lnTo>
                  <a:lnTo>
                    <a:pt x="324" y="273"/>
                  </a:lnTo>
                  <a:lnTo>
                    <a:pt x="320" y="269"/>
                  </a:lnTo>
                  <a:lnTo>
                    <a:pt x="328" y="259"/>
                  </a:lnTo>
                  <a:lnTo>
                    <a:pt x="320" y="254"/>
                  </a:lnTo>
                  <a:lnTo>
                    <a:pt x="342" y="208"/>
                  </a:lnTo>
                  <a:lnTo>
                    <a:pt x="346" y="188"/>
                  </a:lnTo>
                  <a:lnTo>
                    <a:pt x="356" y="174"/>
                  </a:lnTo>
                  <a:lnTo>
                    <a:pt x="354" y="168"/>
                  </a:lnTo>
                  <a:lnTo>
                    <a:pt x="362" y="152"/>
                  </a:lnTo>
                  <a:lnTo>
                    <a:pt x="364" y="130"/>
                  </a:lnTo>
                  <a:lnTo>
                    <a:pt x="374" y="132"/>
                  </a:lnTo>
                  <a:lnTo>
                    <a:pt x="380" y="142"/>
                  </a:lnTo>
                  <a:lnTo>
                    <a:pt x="402" y="146"/>
                  </a:lnTo>
                  <a:lnTo>
                    <a:pt x="422" y="88"/>
                  </a:lnTo>
                  <a:lnTo>
                    <a:pt x="436" y="94"/>
                  </a:lnTo>
                  <a:lnTo>
                    <a:pt x="444" y="72"/>
                  </a:lnTo>
                  <a:lnTo>
                    <a:pt x="448" y="74"/>
                  </a:lnTo>
                  <a:lnTo>
                    <a:pt x="456" y="66"/>
                  </a:lnTo>
                  <a:lnTo>
                    <a:pt x="470" y="40"/>
                  </a:lnTo>
                  <a:lnTo>
                    <a:pt x="472" y="0"/>
                  </a:lnTo>
                  <a:lnTo>
                    <a:pt x="526" y="30"/>
                  </a:lnTo>
                  <a:lnTo>
                    <a:pt x="532" y="6"/>
                  </a:lnTo>
                  <a:lnTo>
                    <a:pt x="550" y="6"/>
                  </a:lnTo>
                  <a:lnTo>
                    <a:pt x="562" y="14"/>
                  </a:lnTo>
                  <a:lnTo>
                    <a:pt x="558" y="26"/>
                  </a:lnTo>
                  <a:lnTo>
                    <a:pt x="566" y="32"/>
                  </a:lnTo>
                  <a:lnTo>
                    <a:pt x="584" y="34"/>
                  </a:lnTo>
                  <a:lnTo>
                    <a:pt x="590" y="40"/>
                  </a:lnTo>
                  <a:lnTo>
                    <a:pt x="600" y="44"/>
                  </a:lnTo>
                  <a:lnTo>
                    <a:pt x="606" y="46"/>
                  </a:lnTo>
                  <a:lnTo>
                    <a:pt x="606" y="46"/>
                  </a:lnTo>
                  <a:lnTo>
                    <a:pt x="610" y="52"/>
                  </a:lnTo>
                  <a:lnTo>
                    <a:pt x="614" y="68"/>
                  </a:lnTo>
                  <a:lnTo>
                    <a:pt x="606" y="72"/>
                  </a:lnTo>
                  <a:lnTo>
                    <a:pt x="606" y="86"/>
                  </a:lnTo>
                  <a:lnTo>
                    <a:pt x="600" y="92"/>
                  </a:lnTo>
                  <a:lnTo>
                    <a:pt x="596" y="104"/>
                  </a:lnTo>
                  <a:lnTo>
                    <a:pt x="598" y="108"/>
                  </a:lnTo>
                  <a:lnTo>
                    <a:pt x="602" y="114"/>
                  </a:lnTo>
                  <a:lnTo>
                    <a:pt x="634" y="122"/>
                  </a:lnTo>
                  <a:lnTo>
                    <a:pt x="654" y="136"/>
                  </a:lnTo>
                  <a:lnTo>
                    <a:pt x="698" y="144"/>
                  </a:lnTo>
                  <a:lnTo>
                    <a:pt x="708" y="154"/>
                  </a:lnTo>
                  <a:lnTo>
                    <a:pt x="712" y="166"/>
                  </a:lnTo>
                  <a:lnTo>
                    <a:pt x="712" y="188"/>
                  </a:lnTo>
                  <a:lnTo>
                    <a:pt x="706" y="192"/>
                  </a:lnTo>
                  <a:lnTo>
                    <a:pt x="710" y="208"/>
                  </a:lnTo>
                  <a:lnTo>
                    <a:pt x="720" y="212"/>
                  </a:lnTo>
                  <a:lnTo>
                    <a:pt x="730" y="226"/>
                  </a:lnTo>
                  <a:lnTo>
                    <a:pt x="724" y="226"/>
                  </a:lnTo>
                  <a:lnTo>
                    <a:pt x="716" y="232"/>
                  </a:lnTo>
                  <a:lnTo>
                    <a:pt x="718" y="238"/>
                  </a:lnTo>
                  <a:lnTo>
                    <a:pt x="724" y="248"/>
                  </a:lnTo>
                  <a:lnTo>
                    <a:pt x="734" y="252"/>
                  </a:lnTo>
                  <a:lnTo>
                    <a:pt x="738" y="258"/>
                  </a:lnTo>
                  <a:lnTo>
                    <a:pt x="730" y="263"/>
                  </a:lnTo>
                  <a:lnTo>
                    <a:pt x="712" y="267"/>
                  </a:lnTo>
                  <a:lnTo>
                    <a:pt x="712" y="277"/>
                  </a:lnTo>
                  <a:lnTo>
                    <a:pt x="724" y="281"/>
                  </a:lnTo>
                  <a:lnTo>
                    <a:pt x="734" y="283"/>
                  </a:lnTo>
                  <a:lnTo>
                    <a:pt x="738" y="277"/>
                  </a:lnTo>
                  <a:lnTo>
                    <a:pt x="742" y="275"/>
                  </a:lnTo>
                  <a:lnTo>
                    <a:pt x="774" y="277"/>
                  </a:lnTo>
                  <a:lnTo>
                    <a:pt x="782" y="301"/>
                  </a:lnTo>
                  <a:lnTo>
                    <a:pt x="704" y="317"/>
                  </a:lnTo>
                  <a:close/>
                </a:path>
              </a:pathLst>
            </a:custGeom>
            <a:solidFill>
              <a:schemeClr val="tx2">
                <a:lumMod val="25000"/>
                <a:lumOff val="75000"/>
              </a:schemeClr>
            </a:solidFill>
            <a:ln w="12700">
              <a:solidFill>
                <a:srgbClr val="40404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5" name="Flowchart: Connector 4"/>
          <p:cNvSpPr/>
          <p:nvPr/>
        </p:nvSpPr>
        <p:spPr>
          <a:xfrm>
            <a:off x="5318991" y="2745398"/>
            <a:ext cx="132070" cy="1524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lowchart: Connector 78"/>
          <p:cNvSpPr/>
          <p:nvPr/>
        </p:nvSpPr>
        <p:spPr>
          <a:xfrm>
            <a:off x="5112006" y="2309379"/>
            <a:ext cx="132070" cy="1524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Flowchart: Connector 79"/>
          <p:cNvSpPr/>
          <p:nvPr/>
        </p:nvSpPr>
        <p:spPr>
          <a:xfrm>
            <a:off x="8713016" y="2141966"/>
            <a:ext cx="132070" cy="1524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Flowchart: Connector 80"/>
          <p:cNvSpPr/>
          <p:nvPr/>
        </p:nvSpPr>
        <p:spPr>
          <a:xfrm>
            <a:off x="5471391" y="2897798"/>
            <a:ext cx="132070" cy="1524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Flowchart: Connector 81"/>
          <p:cNvSpPr/>
          <p:nvPr/>
        </p:nvSpPr>
        <p:spPr>
          <a:xfrm>
            <a:off x="8114069" y="2988295"/>
            <a:ext cx="132070" cy="1524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Flowchart: Connector 82"/>
          <p:cNvSpPr/>
          <p:nvPr/>
        </p:nvSpPr>
        <p:spPr>
          <a:xfrm>
            <a:off x="5384640" y="1499481"/>
            <a:ext cx="132070" cy="1524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Flowchart: Connector 83"/>
          <p:cNvSpPr/>
          <p:nvPr/>
        </p:nvSpPr>
        <p:spPr>
          <a:xfrm>
            <a:off x="6993797" y="3112129"/>
            <a:ext cx="132070" cy="152400"/>
          </a:xfrm>
          <a:prstGeom prst="flowChartConnector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Flowchart: Connector 84"/>
          <p:cNvSpPr/>
          <p:nvPr/>
        </p:nvSpPr>
        <p:spPr>
          <a:xfrm>
            <a:off x="6907684" y="3295115"/>
            <a:ext cx="132070" cy="152400"/>
          </a:xfrm>
          <a:prstGeom prst="flowChartConnector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Flowchart: Connector 85"/>
          <p:cNvSpPr/>
          <p:nvPr/>
        </p:nvSpPr>
        <p:spPr>
          <a:xfrm>
            <a:off x="7118145" y="3281610"/>
            <a:ext cx="132070" cy="152400"/>
          </a:xfrm>
          <a:prstGeom prst="flowChartConnector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Flowchart: Connector 86"/>
          <p:cNvSpPr/>
          <p:nvPr/>
        </p:nvSpPr>
        <p:spPr>
          <a:xfrm>
            <a:off x="8558546" y="2379989"/>
            <a:ext cx="132070" cy="1524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Flowchart: Connector 87"/>
          <p:cNvSpPr/>
          <p:nvPr/>
        </p:nvSpPr>
        <p:spPr>
          <a:xfrm>
            <a:off x="8005750" y="2128644"/>
            <a:ext cx="132070" cy="1524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Flowchart: Connector 88"/>
          <p:cNvSpPr/>
          <p:nvPr/>
        </p:nvSpPr>
        <p:spPr>
          <a:xfrm>
            <a:off x="5290801" y="1747849"/>
            <a:ext cx="132070" cy="1524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Flowchart: Connector 89"/>
          <p:cNvSpPr/>
          <p:nvPr/>
        </p:nvSpPr>
        <p:spPr>
          <a:xfrm>
            <a:off x="8436092" y="3574821"/>
            <a:ext cx="132070" cy="1524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Flowchart: Connector 90"/>
          <p:cNvSpPr/>
          <p:nvPr/>
        </p:nvSpPr>
        <p:spPr>
          <a:xfrm>
            <a:off x="5800154" y="2857802"/>
            <a:ext cx="132070" cy="1524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Flowchart: Connector 91"/>
          <p:cNvSpPr/>
          <p:nvPr/>
        </p:nvSpPr>
        <p:spPr>
          <a:xfrm>
            <a:off x="8899149" y="1994326"/>
            <a:ext cx="132070" cy="1524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Flowchart: Connector 92"/>
          <p:cNvSpPr/>
          <p:nvPr/>
        </p:nvSpPr>
        <p:spPr>
          <a:xfrm>
            <a:off x="6361916" y="2448767"/>
            <a:ext cx="132070" cy="1524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Flowchart: Connector 93"/>
          <p:cNvSpPr/>
          <p:nvPr/>
        </p:nvSpPr>
        <p:spPr>
          <a:xfrm>
            <a:off x="8640096" y="2286634"/>
            <a:ext cx="132070" cy="1524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Flowchart: Connector 94"/>
          <p:cNvSpPr/>
          <p:nvPr/>
        </p:nvSpPr>
        <p:spPr>
          <a:xfrm>
            <a:off x="5077652" y="3295115"/>
            <a:ext cx="132070" cy="1524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lowchart: Connector 95"/>
          <p:cNvSpPr/>
          <p:nvPr/>
        </p:nvSpPr>
        <p:spPr>
          <a:xfrm>
            <a:off x="7651826" y="2254611"/>
            <a:ext cx="132070" cy="1524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629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 Sales Are Growing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2377611" y="4738523"/>
            <a:ext cx="4312578" cy="285750"/>
          </a:xfrm>
          <a:prstGeom prst="roundRect">
            <a:avLst/>
          </a:prstGeom>
          <a:gradFill rotWithShape="1">
            <a:gsLst>
              <a:gs pos="0">
                <a:srgbClr val="F96A1B">
                  <a:shade val="51000"/>
                  <a:satMod val="130000"/>
                </a:srgbClr>
              </a:gs>
              <a:gs pos="80000">
                <a:srgbClr val="F96A1B">
                  <a:shade val="93000"/>
                  <a:satMod val="130000"/>
                </a:srgbClr>
              </a:gs>
              <a:gs pos="100000">
                <a:srgbClr val="F96A1B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96A1B">
                <a:shade val="95000"/>
                <a:satMod val="10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200" kern="0" dirty="0">
                <a:solidFill>
                  <a:srgbClr val="FFFFFF"/>
                </a:solidFill>
                <a:latin typeface="Arial"/>
              </a:rPr>
              <a:t>Over </a:t>
            </a:r>
            <a:r>
              <a:rPr lang="en-US" sz="1200" kern="0" dirty="0" smtClean="0">
                <a:solidFill>
                  <a:srgbClr val="FFFFFF"/>
                </a:solidFill>
                <a:latin typeface="Arial"/>
              </a:rPr>
              <a:t>707,000 </a:t>
            </a:r>
            <a:r>
              <a:rPr lang="en-US" sz="1200" kern="0" dirty="0">
                <a:solidFill>
                  <a:srgbClr val="FFFFFF"/>
                </a:solidFill>
                <a:latin typeface="Arial"/>
              </a:rPr>
              <a:t>cumulative EVs sold through </a:t>
            </a:r>
            <a:r>
              <a:rPr lang="en-US" sz="1200" kern="0" dirty="0" smtClean="0">
                <a:solidFill>
                  <a:srgbClr val="FFFFFF"/>
                </a:solidFill>
                <a:latin typeface="Arial"/>
              </a:rPr>
              <a:t>September 2017</a:t>
            </a:r>
            <a:endParaRPr lang="en-US" sz="120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972175" y="3764020"/>
            <a:ext cx="22288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525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Inside EV Sales Scorecard </a:t>
            </a:r>
          </a:p>
          <a:p>
            <a:pPr algn="r"/>
            <a:r>
              <a:rPr lang="en-US" sz="525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://insideevs.com/monthly-plug-in-sales-scorecard/</a:t>
            </a:r>
            <a:r>
              <a:rPr lang="en-US" sz="525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0964BFB-CD50-4230-B608-46CC3CA0DD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0" y="780230"/>
            <a:ext cx="8991600" cy="3820380"/>
          </a:xfrm>
          <a:prstGeom prst="rect">
            <a:avLst/>
          </a:prstGeom>
        </p:spPr>
      </p:pic>
      <p:sp>
        <p:nvSpPr>
          <p:cNvPr id="4" name="Rounded Rectangular Callout 3"/>
          <p:cNvSpPr/>
          <p:nvPr/>
        </p:nvSpPr>
        <p:spPr>
          <a:xfrm>
            <a:off x="2286000" y="3105150"/>
            <a:ext cx="609600" cy="381000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100K</a:t>
            </a:r>
            <a:endParaRPr lang="en-US" sz="1100" b="1" dirty="0"/>
          </a:p>
        </p:txBody>
      </p:sp>
      <p:sp>
        <p:nvSpPr>
          <p:cNvPr id="9" name="Rounded Rectangular Callout 8"/>
          <p:cNvSpPr/>
          <p:nvPr/>
        </p:nvSpPr>
        <p:spPr>
          <a:xfrm>
            <a:off x="3657600" y="2737757"/>
            <a:ext cx="609600" cy="381000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2</a:t>
            </a:r>
            <a:r>
              <a:rPr lang="en-US" sz="1100" b="1" dirty="0" smtClean="0"/>
              <a:t>00K</a:t>
            </a:r>
            <a:endParaRPr lang="en-US" sz="1100" b="1" dirty="0"/>
          </a:p>
        </p:txBody>
      </p:sp>
      <p:sp>
        <p:nvSpPr>
          <p:cNvPr id="10" name="Rounded Rectangular Callout 9"/>
          <p:cNvSpPr/>
          <p:nvPr/>
        </p:nvSpPr>
        <p:spPr>
          <a:xfrm>
            <a:off x="4876800" y="2356757"/>
            <a:ext cx="609600" cy="381000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3</a:t>
            </a:r>
            <a:r>
              <a:rPr lang="en-US" sz="1100" b="1" dirty="0" smtClean="0"/>
              <a:t>00K</a:t>
            </a:r>
            <a:endParaRPr lang="en-US" sz="1100" b="1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6248400" y="1971221"/>
            <a:ext cx="609600" cy="381000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400K</a:t>
            </a:r>
            <a:endParaRPr lang="en-US" sz="1100" b="1" dirty="0"/>
          </a:p>
        </p:txBody>
      </p:sp>
      <p:sp>
        <p:nvSpPr>
          <p:cNvPr id="12" name="Rounded Rectangular Callout 11"/>
          <p:cNvSpPr/>
          <p:nvPr/>
        </p:nvSpPr>
        <p:spPr>
          <a:xfrm>
            <a:off x="7239000" y="1590221"/>
            <a:ext cx="609600" cy="381000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500K</a:t>
            </a:r>
            <a:endParaRPr lang="en-US" sz="1100" b="1" dirty="0"/>
          </a:p>
        </p:txBody>
      </p:sp>
      <p:sp>
        <p:nvSpPr>
          <p:cNvPr id="13" name="Rounded Rectangular Callout 12"/>
          <p:cNvSpPr/>
          <p:nvPr/>
        </p:nvSpPr>
        <p:spPr>
          <a:xfrm>
            <a:off x="8113486" y="1209221"/>
            <a:ext cx="609600" cy="381000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600K</a:t>
            </a:r>
            <a:endParaRPr lang="en-US" sz="1100" b="1" dirty="0"/>
          </a:p>
        </p:txBody>
      </p:sp>
      <p:sp>
        <p:nvSpPr>
          <p:cNvPr id="14" name="Rounded Rectangular Callout 13"/>
          <p:cNvSpPr/>
          <p:nvPr/>
        </p:nvSpPr>
        <p:spPr>
          <a:xfrm>
            <a:off x="8534400" y="615103"/>
            <a:ext cx="609600" cy="381000"/>
          </a:xfrm>
          <a:prstGeom prst="wedgeRoundRectCallout">
            <a:avLst>
              <a:gd name="adj1" fmla="val 32739"/>
              <a:gd name="adj2" fmla="val 110119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707K</a:t>
            </a:r>
            <a:endParaRPr lang="en-US" sz="1100" b="1" dirty="0"/>
          </a:p>
        </p:txBody>
      </p:sp>
    </p:spTree>
    <p:extLst>
      <p:ext uri="{BB962C8B-B14F-4D97-AF65-F5344CB8AC3E}">
        <p14:creationId xmlns:p14="http://schemas.microsoft.com/office/powerpoint/2010/main" val="1200768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9" cstate="screen">
            <a:extLst>
              <a:ext uri="{BEBA8EAE-BF5A-486C-A8C5-ECC9F3942E4B}">
                <a14:imgProps xmlns:a14="http://schemas.microsoft.com/office/drawing/2010/main">
                  <a14:imgLayer r:embed="rId40">
                    <a14:imgEffect>
                      <a14:backgroundRemoval t="29867" b="78761" l="8500" r="8275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3437" y="2081131"/>
            <a:ext cx="1078938" cy="609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 Models in USA</a:t>
            </a:r>
            <a:endParaRPr lang="en-US" dirty="0"/>
          </a:p>
        </p:txBody>
      </p:sp>
      <p:sp>
        <p:nvSpPr>
          <p:cNvPr id="98" name="Rectangle 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17723" y="4026752"/>
            <a:ext cx="859631" cy="831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>
                <a:solidFill>
                  <a:schemeClr val="tx1">
                    <a:lumMod val="75000"/>
                  </a:schemeClr>
                </a:solidFill>
              </a:rPr>
              <a:t>Nissan LEAF</a:t>
            </a:r>
          </a:p>
        </p:txBody>
      </p:sp>
      <p:pic>
        <p:nvPicPr>
          <p:cNvPr id="99" name="Picture 8" descr="http://wwwdelivery.superstock.com/Image/1990/Thumb/1990-41279.jpg"/>
          <p:cNvPicPr>
            <a:picLocks noChangeAspect="1" noChangeArrowheads="1"/>
          </p:cNvPicPr>
          <p:nvPr/>
        </p:nvPicPr>
        <p:blipFill>
          <a:blip r:embed="rId4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31835" y="2763042"/>
            <a:ext cx="809810" cy="595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Rectangle 3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506925" y="3318089"/>
            <a:ext cx="859631" cy="8463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>
                <a:solidFill>
                  <a:schemeClr val="tx1">
                    <a:lumMod val="75000"/>
                  </a:schemeClr>
                </a:solidFill>
              </a:rPr>
              <a:t>smart EV</a:t>
            </a:r>
          </a:p>
        </p:txBody>
      </p:sp>
      <p:sp>
        <p:nvSpPr>
          <p:cNvPr id="104" name="Rectangle 3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815743" y="4718603"/>
            <a:ext cx="859631" cy="8463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 smtClean="0">
                <a:solidFill>
                  <a:schemeClr val="tx1">
                    <a:lumMod val="75000"/>
                  </a:schemeClr>
                </a:solidFill>
              </a:rPr>
              <a:t>Mitsubishi </a:t>
            </a:r>
            <a:r>
              <a:rPr lang="en-US" sz="600" dirty="0" err="1">
                <a:solidFill>
                  <a:schemeClr val="tx1">
                    <a:lumMod val="75000"/>
                  </a:schemeClr>
                </a:solidFill>
              </a:rPr>
              <a:t>i-MiEV</a:t>
            </a:r>
            <a:endParaRPr lang="en-US" sz="6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06" name="Rectangle 3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506925" y="4026752"/>
            <a:ext cx="859631" cy="831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>
                <a:solidFill>
                  <a:schemeClr val="tx1">
                    <a:lumMod val="75000"/>
                  </a:schemeClr>
                </a:solidFill>
              </a:rPr>
              <a:t>BMW i3</a:t>
            </a:r>
          </a:p>
        </p:txBody>
      </p:sp>
      <p:pic>
        <p:nvPicPr>
          <p:cNvPr id="107" name="Picture 20" descr="http://d3bjscact0svdn.cloudfront.net/a8e1ab2773998a83760d541d1729eff751c53a97/8be329ab11a2de34fe4e2fbda2970cd146dac6a5/ac7e4c86f3ed9bd6673ee3b4fbae25baea68a0c3/Ford/Ford%20Q3%202013_New%20Car%20Offers/C-MAX%20Offers/1372752112-Offer_Panel_C_MAX_Zetec.jpg?bucket=am-public"/>
          <p:cNvPicPr>
            <a:picLocks noChangeAspect="1" noChangeArrowheads="1"/>
          </p:cNvPicPr>
          <p:nvPr/>
        </p:nvPicPr>
        <p:blipFill rotWithShape="1">
          <a:blip r:embed="rId4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737119" y="1710710"/>
            <a:ext cx="638976" cy="387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8" name="Rectangle 3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626792" y="2062932"/>
            <a:ext cx="859631" cy="831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>
                <a:solidFill>
                  <a:schemeClr val="tx1">
                    <a:lumMod val="75000"/>
                  </a:schemeClr>
                </a:solidFill>
              </a:rPr>
              <a:t>Ford C-Max </a:t>
            </a:r>
            <a:r>
              <a:rPr lang="en-US" sz="600" dirty="0" err="1">
                <a:solidFill>
                  <a:schemeClr val="tx1">
                    <a:lumMod val="75000"/>
                  </a:schemeClr>
                </a:solidFill>
              </a:rPr>
              <a:t>Energi</a:t>
            </a:r>
            <a:endParaRPr lang="en-US" sz="6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17" name="Rectangle 3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626792" y="1517364"/>
            <a:ext cx="859631" cy="831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>
                <a:solidFill>
                  <a:schemeClr val="tx1">
                    <a:lumMod val="75000"/>
                  </a:schemeClr>
                </a:solidFill>
              </a:rPr>
              <a:t>Cadillac ELR</a:t>
            </a:r>
          </a:p>
        </p:txBody>
      </p:sp>
      <p:cxnSp>
        <p:nvCxnSpPr>
          <p:cNvPr id="121" name="Straight Connector 120"/>
          <p:cNvCxnSpPr/>
          <p:nvPr/>
        </p:nvCxnSpPr>
        <p:spPr>
          <a:xfrm flipV="1">
            <a:off x="3164124" y="2724150"/>
            <a:ext cx="5319141" cy="1210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tangle 3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499434" y="1517364"/>
            <a:ext cx="859631" cy="831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>
                <a:solidFill>
                  <a:schemeClr val="tx1">
                    <a:lumMod val="75000"/>
                  </a:schemeClr>
                </a:solidFill>
              </a:rPr>
              <a:t>Chevy Volt</a:t>
            </a:r>
          </a:p>
        </p:txBody>
      </p:sp>
      <p:pic>
        <p:nvPicPr>
          <p:cNvPr id="138" name="Picture 16" descr="http://assets.clickmotive.com/ail/color_0640_001/8670/8670_cc0640_001_8W1.jpg"/>
          <p:cNvPicPr>
            <a:picLocks noChangeAspect="1" noChangeArrowheads="1"/>
          </p:cNvPicPr>
          <p:nvPr/>
        </p:nvPicPr>
        <p:blipFill rotWithShape="1">
          <a:blip r:embed="rId4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5477682" y="1123950"/>
            <a:ext cx="918117" cy="378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9" name="Rectangle 3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506925" y="1517364"/>
            <a:ext cx="859631" cy="831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>
                <a:solidFill>
                  <a:schemeClr val="tx1">
                    <a:lumMod val="75000"/>
                  </a:schemeClr>
                </a:solidFill>
              </a:rPr>
              <a:t>Toyota Prius Plug-in</a:t>
            </a:r>
          </a:p>
        </p:txBody>
      </p:sp>
      <p:pic>
        <p:nvPicPr>
          <p:cNvPr id="140" name="Picture 18" descr="http://img3.findthebest.com/sites/default/files/844/media/images/2013_Ford_Focus_ST_563464_i0.png"/>
          <p:cNvPicPr>
            <a:picLocks noChangeAspect="1" noChangeArrowheads="1"/>
          </p:cNvPicPr>
          <p:nvPr/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6656826" y="2856472"/>
            <a:ext cx="799563" cy="477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1" name="Rectangle 3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626792" y="3318089"/>
            <a:ext cx="859631" cy="8463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>
                <a:solidFill>
                  <a:schemeClr val="tx1">
                    <a:lumMod val="75000"/>
                  </a:schemeClr>
                </a:solidFill>
              </a:rPr>
              <a:t>Ford </a:t>
            </a:r>
            <a:r>
              <a:rPr lang="en-US" sz="600" dirty="0" smtClean="0">
                <a:solidFill>
                  <a:schemeClr val="tx1">
                    <a:lumMod val="75000"/>
                  </a:schemeClr>
                </a:solidFill>
              </a:rPr>
              <a:t>Focus Electric</a:t>
            </a:r>
            <a:endParaRPr lang="en-US" sz="600" dirty="0">
              <a:solidFill>
                <a:schemeClr val="tx1">
                  <a:lumMod val="75000"/>
                </a:schemeClr>
              </a:solidFill>
            </a:endParaRPr>
          </a:p>
        </p:txBody>
      </p:sp>
      <p:pic>
        <p:nvPicPr>
          <p:cNvPr id="144" name="Picture 28" descr="http://www.blogcdn.com/www.autoblog.com/media/2012/01/2013-ford-fusion-lead-opt.jpg"/>
          <p:cNvPicPr>
            <a:picLocks noChangeAspect="1" noChangeArrowheads="1"/>
          </p:cNvPicPr>
          <p:nvPr/>
        </p:nvPicPr>
        <p:blipFill>
          <a:blip r:embed="rId4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20081" y="1673761"/>
            <a:ext cx="654914" cy="363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5" name="Rectangle 30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501032" y="2062932"/>
            <a:ext cx="859631" cy="831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>
                <a:solidFill>
                  <a:schemeClr val="tx1">
                    <a:lumMod val="75000"/>
                  </a:schemeClr>
                </a:solidFill>
              </a:rPr>
              <a:t>Ford Fusion </a:t>
            </a:r>
            <a:r>
              <a:rPr lang="en-US" sz="600" dirty="0" err="1">
                <a:solidFill>
                  <a:schemeClr val="tx1">
                    <a:lumMod val="75000"/>
                  </a:schemeClr>
                </a:solidFill>
              </a:rPr>
              <a:t>Energi</a:t>
            </a:r>
            <a:endParaRPr lang="en-US" sz="6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24" name="TextBox 123"/>
          <p:cNvSpPr txBox="1"/>
          <p:nvPr/>
        </p:nvSpPr>
        <p:spPr>
          <a:xfrm rot="5400000">
            <a:off x="2367657" y="731873"/>
            <a:ext cx="523220" cy="1294663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n-US" sz="1100" b="1" dirty="0" smtClean="0">
                <a:solidFill>
                  <a:schemeClr val="accent2"/>
                </a:solidFill>
              </a:rPr>
              <a:t>Plug-In Hybrid EV</a:t>
            </a:r>
          </a:p>
          <a:p>
            <a:r>
              <a:rPr lang="en-US" sz="1100" b="1" dirty="0" smtClean="0">
                <a:solidFill>
                  <a:schemeClr val="accent2"/>
                </a:solidFill>
              </a:rPr>
              <a:t>PHEV</a:t>
            </a:r>
            <a:endParaRPr lang="en-US" sz="1100" b="1" dirty="0">
              <a:solidFill>
                <a:schemeClr val="accent2"/>
              </a:solidFill>
            </a:endParaRPr>
          </a:p>
        </p:txBody>
      </p:sp>
      <p:sp>
        <p:nvSpPr>
          <p:cNvPr id="125" name="TextBox 124"/>
          <p:cNvSpPr txBox="1"/>
          <p:nvPr/>
        </p:nvSpPr>
        <p:spPr>
          <a:xfrm rot="5400000">
            <a:off x="2596773" y="2708512"/>
            <a:ext cx="523220" cy="838200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n-US" sz="1100" b="1" dirty="0" smtClean="0">
                <a:solidFill>
                  <a:schemeClr val="accent1"/>
                </a:solidFill>
              </a:rPr>
              <a:t>Battery EV BEV</a:t>
            </a:r>
            <a:endParaRPr lang="en-US" sz="1100" b="1" dirty="0">
              <a:solidFill>
                <a:schemeClr val="accent1"/>
              </a:solidFill>
            </a:endParaRPr>
          </a:p>
        </p:txBody>
      </p:sp>
      <p:sp>
        <p:nvSpPr>
          <p:cNvPr id="126" name="TextBox 125"/>
          <p:cNvSpPr txBox="1"/>
          <p:nvPr/>
        </p:nvSpPr>
        <p:spPr>
          <a:xfrm rot="5400000">
            <a:off x="2643523" y="3274623"/>
            <a:ext cx="523220" cy="108586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n-US" sz="1100" b="1" dirty="0">
                <a:solidFill>
                  <a:schemeClr val="accent1"/>
                </a:solidFill>
              </a:rPr>
              <a:t>BEV with DC Fast Charge</a:t>
            </a:r>
          </a:p>
        </p:txBody>
      </p:sp>
      <p:sp>
        <p:nvSpPr>
          <p:cNvPr id="127" name="Rectangle 30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517723" y="4675506"/>
            <a:ext cx="859631" cy="831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>
                <a:solidFill>
                  <a:schemeClr val="tx1">
                    <a:lumMod val="75000"/>
                  </a:schemeClr>
                </a:solidFill>
              </a:rPr>
              <a:t>Chevy Spark</a:t>
            </a:r>
          </a:p>
        </p:txBody>
      </p:sp>
      <p:sp>
        <p:nvSpPr>
          <p:cNvPr id="128" name="Rectangle 30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506925" y="2567705"/>
            <a:ext cx="859631" cy="8463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>
                <a:solidFill>
                  <a:schemeClr val="tx1">
                    <a:lumMod val="75000"/>
                  </a:schemeClr>
                </a:solidFill>
              </a:rPr>
              <a:t>Porsche </a:t>
            </a:r>
            <a:r>
              <a:rPr lang="en-US" sz="600" dirty="0" err="1" smtClean="0">
                <a:solidFill>
                  <a:schemeClr val="tx1">
                    <a:lumMod val="75000"/>
                  </a:schemeClr>
                </a:solidFill>
              </a:rPr>
              <a:t>Panamera</a:t>
            </a:r>
            <a:r>
              <a:rPr lang="en-US" sz="600" dirty="0" smtClean="0">
                <a:solidFill>
                  <a:schemeClr val="tx1">
                    <a:lumMod val="75000"/>
                  </a:schemeClr>
                </a:solidFill>
              </a:rPr>
              <a:t> S E</a:t>
            </a:r>
            <a:endParaRPr lang="en-US" sz="6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34" name="Rectangle 30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471685" y="2569244"/>
            <a:ext cx="859631" cy="9348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75" dirty="0">
                <a:solidFill>
                  <a:schemeClr val="tx1">
                    <a:lumMod val="75000"/>
                  </a:schemeClr>
                </a:solidFill>
              </a:rPr>
              <a:t>BMW i8</a:t>
            </a:r>
          </a:p>
        </p:txBody>
      </p:sp>
      <p:sp>
        <p:nvSpPr>
          <p:cNvPr id="150" name="Rectangle 30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655900" y="3318089"/>
            <a:ext cx="859631" cy="8463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>
                <a:solidFill>
                  <a:schemeClr val="tx1">
                    <a:lumMod val="75000"/>
                  </a:schemeClr>
                </a:solidFill>
              </a:rPr>
              <a:t>Fiat 500 E</a:t>
            </a:r>
          </a:p>
        </p:txBody>
      </p:sp>
      <p:sp>
        <p:nvSpPr>
          <p:cNvPr id="3" name="Rectangle 2"/>
          <p:cNvSpPr/>
          <p:nvPr/>
        </p:nvSpPr>
        <p:spPr>
          <a:xfrm>
            <a:off x="568715" y="2158484"/>
            <a:ext cx="138215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dirty="0" smtClean="0">
                <a:solidFill>
                  <a:schemeClr val="accent2"/>
                </a:solidFill>
              </a:rPr>
              <a:t>Plug</a:t>
            </a:r>
            <a:r>
              <a:rPr lang="en-US" sz="1400" dirty="0">
                <a:solidFill>
                  <a:schemeClr val="accent2"/>
                </a:solidFill>
              </a:rPr>
              <a:t>-In Models</a:t>
            </a:r>
          </a:p>
        </p:txBody>
      </p:sp>
      <p:sp>
        <p:nvSpPr>
          <p:cNvPr id="4" name="Rectangle 3"/>
          <p:cNvSpPr/>
          <p:nvPr/>
        </p:nvSpPr>
        <p:spPr>
          <a:xfrm>
            <a:off x="84633" y="2993707"/>
            <a:ext cx="2350323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accent2"/>
                </a:solidFill>
              </a:rPr>
              <a:t>34+</a:t>
            </a:r>
            <a:r>
              <a:rPr lang="en-US" sz="1200" b="1" dirty="0" smtClean="0">
                <a:solidFill>
                  <a:schemeClr val="accent2"/>
                </a:solidFill>
              </a:rPr>
              <a:t> </a:t>
            </a:r>
            <a:r>
              <a:rPr lang="en-US" sz="1200" dirty="0">
                <a:solidFill>
                  <a:schemeClr val="accent2"/>
                </a:solidFill>
              </a:rPr>
              <a:t>c</a:t>
            </a:r>
            <a:r>
              <a:rPr lang="en-US" sz="1200" dirty="0" smtClean="0">
                <a:solidFill>
                  <a:schemeClr val="accent2"/>
                </a:solidFill>
              </a:rPr>
              <a:t>urrently </a:t>
            </a:r>
            <a:r>
              <a:rPr lang="en-US" sz="1200" dirty="0">
                <a:solidFill>
                  <a:schemeClr val="accent2"/>
                </a:solidFill>
              </a:rPr>
              <a:t>a</a:t>
            </a:r>
            <a:r>
              <a:rPr lang="en-US" sz="1200" dirty="0" smtClean="0">
                <a:solidFill>
                  <a:schemeClr val="accent2"/>
                </a:solidFill>
              </a:rPr>
              <a:t>vailable</a:t>
            </a:r>
          </a:p>
          <a:p>
            <a:pPr algn="ctr"/>
            <a:r>
              <a:rPr lang="en-US" sz="1200" dirty="0" smtClean="0">
                <a:solidFill>
                  <a:schemeClr val="accent2"/>
                </a:solidFill>
              </a:rPr>
              <a:t>with many more coming in 2018</a:t>
            </a:r>
            <a:endParaRPr lang="en-US" sz="1200" dirty="0">
              <a:solidFill>
                <a:schemeClr val="accent2"/>
              </a:solidFill>
            </a:endParaRPr>
          </a:p>
        </p:txBody>
      </p:sp>
      <p:pic>
        <p:nvPicPr>
          <p:cNvPr id="4098" name="Picture 2" descr="http://image.automobilemag.com/f/63228141+q100+re0/2014-bmw-i8-front-left-view.jpg"/>
          <p:cNvPicPr>
            <a:picLocks noChangeAspect="1" noChangeArrowheads="1"/>
          </p:cNvPicPr>
          <p:nvPr/>
        </p:nvPicPr>
        <p:blipFill rotWithShape="1"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4629984" y="2278595"/>
            <a:ext cx="635108" cy="28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https://encrypted-tbn1.gstatic.com/images?q=tbn:ANd9GcRvALbCIdL6tPvrOcG9Wb5McrAHx3KI_jPUnHAzcLSc5XmEXl_M"/>
          <p:cNvPicPr>
            <a:picLocks noChangeAspect="1" noChangeArrowheads="1"/>
          </p:cNvPicPr>
          <p:nvPr/>
        </p:nvPicPr>
        <p:blipFill rotWithShape="1">
          <a:blip r:embed="rId4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6658353" y="1214413"/>
            <a:ext cx="796508" cy="278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95"/>
          <p:cNvPicPr>
            <a:picLocks noChangeAspect="1"/>
          </p:cNvPicPr>
          <p:nvPr/>
        </p:nvPicPr>
        <p:blipFill rotWithShape="1">
          <a:blip r:embed="rId4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83893" y="3537646"/>
            <a:ext cx="759167" cy="491406"/>
          </a:xfrm>
          <a:prstGeom prst="rect">
            <a:avLst/>
          </a:prstGeom>
        </p:spPr>
      </p:pic>
      <p:pic>
        <p:nvPicPr>
          <p:cNvPr id="115" name="Picture 114"/>
          <p:cNvPicPr>
            <a:picLocks noChangeAspect="1"/>
          </p:cNvPicPr>
          <p:nvPr/>
        </p:nvPicPr>
        <p:blipFill>
          <a:blip r:embed="rId4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2942" y="4208075"/>
            <a:ext cx="629192" cy="419200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/>
          </p:cNvPicPr>
          <p:nvPr/>
        </p:nvPicPr>
        <p:blipFill rotWithShape="1">
          <a:blip r:embed="rId5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51192" y="4211033"/>
            <a:ext cx="771096" cy="462658"/>
          </a:xfrm>
          <a:prstGeom prst="rect">
            <a:avLst/>
          </a:prstGeom>
        </p:spPr>
      </p:pic>
      <p:pic>
        <p:nvPicPr>
          <p:cNvPr id="118" name="Picture 117"/>
          <p:cNvPicPr>
            <a:picLocks noChangeAspect="1"/>
          </p:cNvPicPr>
          <p:nvPr/>
        </p:nvPicPr>
        <p:blipFill rotWithShape="1">
          <a:blip r:embed="rId5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50874" y="4227952"/>
            <a:ext cx="667052" cy="428819"/>
          </a:xfrm>
          <a:prstGeom prst="rect">
            <a:avLst/>
          </a:prstGeom>
        </p:spPr>
      </p:pic>
      <p:pic>
        <p:nvPicPr>
          <p:cNvPr id="119" name="Picture 118"/>
          <p:cNvPicPr>
            <a:picLocks noChangeAspect="1"/>
          </p:cNvPicPr>
          <p:nvPr/>
        </p:nvPicPr>
        <p:blipFill rotWithShape="1">
          <a:blip r:embed="rId5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4078" y="3543826"/>
            <a:ext cx="865058" cy="519035"/>
          </a:xfrm>
          <a:prstGeom prst="rect">
            <a:avLst/>
          </a:prstGeom>
        </p:spPr>
      </p:pic>
      <p:pic>
        <p:nvPicPr>
          <p:cNvPr id="120" name="Picture 119"/>
          <p:cNvPicPr>
            <a:picLocks noChangeAspect="1"/>
          </p:cNvPicPr>
          <p:nvPr/>
        </p:nvPicPr>
        <p:blipFill rotWithShape="1">
          <a:blip r:embed="rId5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3798" y="3537646"/>
            <a:ext cx="697573" cy="478336"/>
          </a:xfrm>
          <a:prstGeom prst="rect">
            <a:avLst/>
          </a:prstGeom>
        </p:spPr>
      </p:pic>
      <p:pic>
        <p:nvPicPr>
          <p:cNvPr id="122" name="Picture 121"/>
          <p:cNvPicPr>
            <a:picLocks noChangeAspect="1"/>
          </p:cNvPicPr>
          <p:nvPr/>
        </p:nvPicPr>
        <p:blipFill rotWithShape="1">
          <a:blip r:embed="rId5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3708128" y="4215704"/>
            <a:ext cx="670544" cy="459802"/>
          </a:xfrm>
          <a:prstGeom prst="rect">
            <a:avLst/>
          </a:prstGeom>
        </p:spPr>
      </p:pic>
      <p:sp>
        <p:nvSpPr>
          <p:cNvPr id="129" name="Rectangle 30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5506925" y="4675506"/>
            <a:ext cx="859631" cy="831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>
                <a:solidFill>
                  <a:schemeClr val="tx1">
                    <a:lumMod val="75000"/>
                  </a:schemeClr>
                </a:solidFill>
              </a:rPr>
              <a:t>Kia Soul EV</a:t>
            </a:r>
          </a:p>
        </p:txBody>
      </p:sp>
      <p:sp>
        <p:nvSpPr>
          <p:cNvPr id="130" name="Rectangle 30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534903" y="4675506"/>
            <a:ext cx="859631" cy="831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>
                <a:solidFill>
                  <a:schemeClr val="tx1">
                    <a:lumMod val="75000"/>
                  </a:schemeClr>
                </a:solidFill>
              </a:rPr>
              <a:t>VW e-Golf</a:t>
            </a:r>
          </a:p>
        </p:txBody>
      </p:sp>
      <p:sp>
        <p:nvSpPr>
          <p:cNvPr id="112" name="Rectangle 30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626792" y="4026752"/>
            <a:ext cx="859631" cy="831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>
                <a:solidFill>
                  <a:schemeClr val="tx1">
                    <a:lumMod val="75000"/>
                  </a:schemeClr>
                </a:solidFill>
              </a:rPr>
              <a:t>Tesla Model S</a:t>
            </a:r>
          </a:p>
        </p:txBody>
      </p:sp>
      <p:sp>
        <p:nvSpPr>
          <p:cNvPr id="103" name="Rectangle 30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626792" y="2569244"/>
            <a:ext cx="859631" cy="8463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 smtClean="0">
                <a:solidFill>
                  <a:schemeClr val="tx1">
                    <a:lumMod val="75000"/>
                  </a:schemeClr>
                </a:solidFill>
              </a:rPr>
              <a:t>Porsche Cayenne S E</a:t>
            </a:r>
            <a:endParaRPr lang="en-US" sz="6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11" name="Rectangle 30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655900" y="4675506"/>
            <a:ext cx="859631" cy="8463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 smtClean="0">
                <a:solidFill>
                  <a:schemeClr val="tx1">
                    <a:lumMod val="75000"/>
                  </a:schemeClr>
                </a:solidFill>
              </a:rPr>
              <a:t>Mercedes B Class</a:t>
            </a:r>
            <a:endParaRPr lang="en-US" sz="6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13" name="Rectangle 30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7655900" y="2569244"/>
            <a:ext cx="859631" cy="8463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 smtClean="0">
                <a:solidFill>
                  <a:schemeClr val="tx1">
                    <a:lumMod val="75000"/>
                  </a:schemeClr>
                </a:solidFill>
              </a:rPr>
              <a:t>Audi A3 e-</a:t>
            </a:r>
            <a:r>
              <a:rPr lang="en-US" sz="600" dirty="0" err="1" smtClean="0">
                <a:solidFill>
                  <a:schemeClr val="tx1">
                    <a:lumMod val="75000"/>
                  </a:schemeClr>
                </a:solidFill>
              </a:rPr>
              <a:t>tron</a:t>
            </a:r>
            <a:endParaRPr lang="en-US" sz="6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32" name="Rectangle 30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7655900" y="4025983"/>
            <a:ext cx="859631" cy="8463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>
                <a:solidFill>
                  <a:schemeClr val="tx1">
                    <a:lumMod val="75000"/>
                  </a:schemeClr>
                </a:solidFill>
              </a:rPr>
              <a:t>Tesla Model </a:t>
            </a:r>
            <a:r>
              <a:rPr lang="en-US" sz="600" dirty="0" smtClean="0">
                <a:solidFill>
                  <a:schemeClr val="tx1">
                    <a:lumMod val="75000"/>
                  </a:schemeClr>
                </a:solidFill>
              </a:rPr>
              <a:t>X</a:t>
            </a:r>
            <a:endParaRPr lang="en-US" sz="600" dirty="0">
              <a:solidFill>
                <a:schemeClr val="tx1">
                  <a:lumMod val="75000"/>
                </a:schemeClr>
              </a:solidFill>
            </a:endParaRPr>
          </a:p>
        </p:txBody>
      </p:sp>
      <p:pic>
        <p:nvPicPr>
          <p:cNvPr id="135" name="Picture 134"/>
          <p:cNvPicPr>
            <a:picLocks noChangeAspect="1"/>
          </p:cNvPicPr>
          <p:nvPr/>
        </p:nvPicPr>
        <p:blipFill rotWithShape="1">
          <a:blip r:embed="rId5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94668" y="4268683"/>
            <a:ext cx="782095" cy="362842"/>
          </a:xfrm>
          <a:prstGeom prst="rect">
            <a:avLst/>
          </a:prstGeom>
        </p:spPr>
      </p:pic>
      <p:pic>
        <p:nvPicPr>
          <p:cNvPr id="147" name="Picture 146"/>
          <p:cNvPicPr>
            <a:picLocks noChangeAspect="1"/>
          </p:cNvPicPr>
          <p:nvPr/>
        </p:nvPicPr>
        <p:blipFill rotWithShape="1">
          <a:blip r:embed="rId5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22014" y="1188033"/>
            <a:ext cx="727403" cy="330966"/>
          </a:xfrm>
          <a:prstGeom prst="rect">
            <a:avLst/>
          </a:prstGeom>
        </p:spPr>
      </p:pic>
      <p:sp>
        <p:nvSpPr>
          <p:cNvPr id="154" name="Rectangle 30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7655900" y="1516595"/>
            <a:ext cx="859631" cy="8463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 err="1" smtClean="0">
                <a:solidFill>
                  <a:schemeClr val="tx1">
                    <a:lumMod val="75000"/>
                  </a:schemeClr>
                </a:solidFill>
              </a:rPr>
              <a:t>Mercedez</a:t>
            </a:r>
            <a:r>
              <a:rPr lang="en-US" sz="600" dirty="0" smtClean="0">
                <a:solidFill>
                  <a:schemeClr val="tx1">
                    <a:lumMod val="75000"/>
                  </a:schemeClr>
                </a:solidFill>
              </a:rPr>
              <a:t> S 550</a:t>
            </a:r>
            <a:endParaRPr lang="en-US" sz="6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59" name="Rectangle 30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7633515" y="2062932"/>
            <a:ext cx="904401" cy="8463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 smtClean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Volvo XC90 </a:t>
            </a:r>
            <a:endParaRPr lang="en-US" sz="600" dirty="0">
              <a:solidFill>
                <a:schemeClr val="tx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0" name="Rectangle 30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096000" y="209550"/>
            <a:ext cx="904401" cy="126958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endParaRPr lang="en-US" sz="900" b="1" dirty="0">
              <a:solidFill>
                <a:schemeClr val="accent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42" name="Picture 141" descr="Ppt_EV2.png"/>
          <p:cNvPicPr>
            <a:picLocks noChangeAspect="1"/>
          </p:cNvPicPr>
          <p:nvPr/>
        </p:nvPicPr>
        <p:blipFill>
          <a:blip r:embed="rId5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275" y="2539484"/>
            <a:ext cx="937039" cy="42793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8" cstate="screen">
            <a:extLst>
              <a:ext uri="{BEBA8EAE-BF5A-486C-A8C5-ECC9F3942E4B}">
                <a14:imgProps xmlns:a14="http://schemas.microsoft.com/office/drawing/2010/main">
                  <a14:imgLayer r:embed="rId59">
                    <a14:imgEffect>
                      <a14:backgroundRemoval t="16850" b="83150" l="17153" r="82587">
                        <a14:foregroundMark x1="18003" y1="67350" x2="18003" y2="67350"/>
                        <a14:foregroundMark x1="17917" y1="61550" x2="17917" y2="61550"/>
                        <a14:foregroundMark x1="21389" y1="45500" x2="21389" y2="45500"/>
                        <a14:foregroundMark x1="27326" y1="40500" x2="27326" y2="40500"/>
                        <a14:foregroundMark x1="28229" y1="39700" x2="28229" y2="39700"/>
                        <a14:foregroundMark x1="32813" y1="37600" x2="32813" y2="37600"/>
                        <a14:foregroundMark x1="37274" y1="31850" x2="37274" y2="31850"/>
                        <a14:foregroundMark x1="41944" y1="25250" x2="41944" y2="25250"/>
                        <a14:foregroundMark x1="48524" y1="20000" x2="48524" y2="20000"/>
                        <a14:foregroundMark x1="56476" y1="18150" x2="56476" y2="18150"/>
                        <a14:foregroundMark x1="66250" y1="20250" x2="66250" y2="20250"/>
                        <a14:foregroundMark x1="74566" y1="27100" x2="74566" y2="27100"/>
                        <a14:foregroundMark x1="81788" y1="35000" x2="81788" y2="35000"/>
                        <a14:foregroundMark x1="81684" y1="39700" x2="81684" y2="39700"/>
                        <a14:foregroundMark x1="81962" y1="52600" x2="81962" y2="52600"/>
                        <a14:foregroundMark x1="80226" y1="42350" x2="80226" y2="42350"/>
                        <a14:foregroundMark x1="81146" y1="41050" x2="81146" y2="41050"/>
                        <a14:foregroundMark x1="69167" y1="21550" x2="69167" y2="21550"/>
                        <a14:foregroundMark x1="62865" y1="18400" x2="62865" y2="18400"/>
                        <a14:foregroundMark x1="58854" y1="17900" x2="58854" y2="17900"/>
                        <a14:foregroundMark x1="53177" y1="17900" x2="53177" y2="17900"/>
                        <a14:foregroundMark x1="45052" y1="22600" x2="45052" y2="22600"/>
                        <a14:foregroundMark x1="51267" y1="18150" x2="51267" y2="18150"/>
                        <a14:foregroundMark x1="54913" y1="18150" x2="54913" y2="18150"/>
                        <a14:foregroundMark x1="57569" y1="17900" x2="57569" y2="17900"/>
                        <a14:foregroundMark x1="61858" y1="17900" x2="61858" y2="17900"/>
                        <a14:foregroundMark x1="64965" y1="19450" x2="64965" y2="19450"/>
                        <a14:foregroundMark x1="25122" y1="41850" x2="25122" y2="41850"/>
                        <a14:foregroundMark x1="22760" y1="43950" x2="22760" y2="43950"/>
                        <a14:foregroundMark x1="18455" y1="49700" x2="18455" y2="49700"/>
                        <a14:foregroundMark x1="20382" y1="45500" x2="20382" y2="45500"/>
                        <a14:foregroundMark x1="17917" y1="52350" x2="17917" y2="52350"/>
                        <a14:foregroundMark x1="18090" y1="57100" x2="18090" y2="57100"/>
                        <a14:foregroundMark x1="24219" y1="42350" x2="24219" y2="42350"/>
                        <a14:foregroundMark x1="50347" y1="19200" x2="50347" y2="19200"/>
                        <a14:foregroundMark x1="46875" y1="21550" x2="46875" y2="21550"/>
                        <a14:foregroundMark x1="51997" y1="18400" x2="51997" y2="18400"/>
                        <a14:foregroundMark x1="64063" y1="19200" x2="64063" y2="19200"/>
                        <a14:foregroundMark x1="67622" y1="21050" x2="67622" y2="21050"/>
                        <a14:foregroundMark x1="70451" y1="22600" x2="70451" y2="22600"/>
                        <a14:foregroundMark x1="71736" y1="23650" x2="71736" y2="23650"/>
                        <a14:foregroundMark x1="71458" y1="66550" x2="71458" y2="66550"/>
                        <a14:foregroundMark x1="72917" y1="24450" x2="72917" y2="24450"/>
                        <a14:foregroundMark x1="19288" y1="47900" x2="19288" y2="47900"/>
                        <a14:backgroundMark x1="81788" y1="42600" x2="81788" y2="42600"/>
                        <a14:backgroundMark x1="81510" y1="45500" x2="81510" y2="45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7600" y="3595828"/>
            <a:ext cx="1295400" cy="44979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0" cstate="screen">
            <a:extLst>
              <a:ext uri="{BEBA8EAE-BF5A-486C-A8C5-ECC9F3942E4B}">
                <a14:imgProps xmlns:a14="http://schemas.microsoft.com/office/drawing/2010/main">
                  <a14:imgLayer r:embed="rId61">
                    <a14:imgEffect>
                      <a14:backgroundRemoval t="17103" b="90000" l="9989" r="96062">
                        <a14:foregroundMark x1="15525" y1="84673" x2="15525" y2="84673"/>
                        <a14:foregroundMark x1="16610" y1="83645" x2="16610" y2="83645"/>
                        <a14:foregroundMark x1="17808" y1="83178" x2="17808" y2="83178"/>
                        <a14:foregroundMark x1="19406" y1="84953" x2="19406" y2="84953"/>
                        <a14:foregroundMark x1="17808" y1="84953" x2="17808" y2="84953"/>
                        <a14:foregroundMark x1="16610" y1="85140" x2="16610" y2="85140"/>
                        <a14:foregroundMark x1="14840" y1="85607" x2="14840" y2="85607"/>
                        <a14:foregroundMark x1="15696" y1="86916" x2="15696" y2="86916"/>
                        <a14:foregroundMark x1="13927" y1="85888" x2="13927" y2="85888"/>
                        <a14:foregroundMark x1="89726" y1="72897" x2="89726" y2="72897"/>
                        <a14:foregroundMark x1="91039" y1="72617" x2="91039" y2="72617"/>
                        <a14:foregroundMark x1="91895" y1="71776" x2="91895" y2="71776"/>
                        <a14:foregroundMark x1="93322" y1="71121" x2="93322" y2="71121"/>
                        <a14:foregroundMark x1="94406" y1="69346" x2="94406" y2="69346"/>
                        <a14:foregroundMark x1="92295" y1="68505" x2="92295" y2="68505"/>
                        <a14:foregroundMark x1="93379" y1="68692" x2="93379" y2="68692"/>
                        <a14:foregroundMark x1="49258" y1="55421" x2="49258" y2="55421"/>
                        <a14:foregroundMark x1="67523" y1="20748" x2="67523" y2="20748"/>
                        <a14:foregroundMark x1="66495" y1="20654" x2="66495" y2="20654"/>
                        <a14:foregroundMark x1="68893" y1="20187" x2="68893" y2="20187"/>
                        <a14:foregroundMark x1="69863" y1="19346" x2="69863" y2="19346"/>
                        <a14:foregroundMark x1="52740" y1="19813" x2="52740" y2="19813"/>
                        <a14:foregroundMark x1="47888" y1="19533" x2="47888" y2="19533"/>
                        <a14:foregroundMark x1="49144" y1="19346" x2="49144" y2="19346"/>
                        <a14:foregroundMark x1="54338" y1="19533" x2="54338" y2="195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0" y="1047750"/>
            <a:ext cx="739371" cy="451556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62"/>
          <a:stretch>
            <a:fillRect/>
          </a:stretch>
        </p:blipFill>
        <p:spPr>
          <a:xfrm>
            <a:off x="7743145" y="2834132"/>
            <a:ext cx="685141" cy="513855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6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9635" y="1572480"/>
            <a:ext cx="994211" cy="619394"/>
          </a:xfrm>
          <a:prstGeom prst="rect">
            <a:avLst/>
          </a:prstGeom>
        </p:spPr>
      </p:pic>
      <p:sp>
        <p:nvSpPr>
          <p:cNvPr id="68" name="Rectangle 30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5506925" y="2062932"/>
            <a:ext cx="859631" cy="8463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 smtClean="0">
                <a:solidFill>
                  <a:schemeClr val="tx1">
                    <a:lumMod val="75000"/>
                  </a:schemeClr>
                </a:solidFill>
              </a:rPr>
              <a:t>BMW X5 xDrive40e</a:t>
            </a:r>
            <a:endParaRPr lang="en-US" sz="600" dirty="0">
              <a:solidFill>
                <a:schemeClr val="tx1">
                  <a:lumMod val="75000"/>
                </a:schemeClr>
              </a:solidFill>
            </a:endParaRPr>
          </a:p>
        </p:txBody>
      </p:sp>
      <p:pic>
        <p:nvPicPr>
          <p:cNvPr id="69" name="Picture 68"/>
          <p:cNvPicPr>
            <a:picLocks noChangeAspect="1"/>
          </p:cNvPicPr>
          <p:nvPr/>
        </p:nvPicPr>
        <p:blipFill>
          <a:blip r:embed="rId64"/>
          <a:stretch>
            <a:fillRect/>
          </a:stretch>
        </p:blipFill>
        <p:spPr>
          <a:xfrm>
            <a:off x="7734068" y="1658697"/>
            <a:ext cx="703295" cy="39853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65"/>
          <a:srcRect l="14712" t="25802" r="10505" b="29561"/>
          <a:stretch/>
        </p:blipFill>
        <p:spPr>
          <a:xfrm>
            <a:off x="3635006" y="2266950"/>
            <a:ext cx="816789" cy="341277"/>
          </a:xfrm>
          <a:prstGeom prst="rect">
            <a:avLst/>
          </a:prstGeom>
        </p:spPr>
      </p:pic>
      <p:sp>
        <p:nvSpPr>
          <p:cNvPr id="71" name="Rectangle 30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3613585" y="2571750"/>
            <a:ext cx="859631" cy="8463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 smtClean="0">
                <a:solidFill>
                  <a:schemeClr val="tx1">
                    <a:lumMod val="75000"/>
                  </a:schemeClr>
                </a:solidFill>
              </a:rPr>
              <a:t>Hyundai Sonata Plug-In</a:t>
            </a:r>
            <a:endParaRPr lang="en-US" sz="600" dirty="0">
              <a:solidFill>
                <a:schemeClr val="tx1">
                  <a:lumMod val="7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6"/>
          <a:srcRect l="16915" t="31182" r="9014" b="5185"/>
          <a:stretch/>
        </p:blipFill>
        <p:spPr>
          <a:xfrm>
            <a:off x="5592923" y="2239463"/>
            <a:ext cx="687635" cy="33228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7"/>
          <a:srcRect l="10416" t="13930" r="9904" b="9616"/>
          <a:stretch/>
        </p:blipFill>
        <p:spPr>
          <a:xfrm>
            <a:off x="6720378" y="2208898"/>
            <a:ext cx="672459" cy="362949"/>
          </a:xfrm>
          <a:prstGeom prst="rect">
            <a:avLst/>
          </a:prstGeom>
        </p:spPr>
      </p:pic>
      <p:cxnSp>
        <p:nvCxnSpPr>
          <p:cNvPr id="74" name="Straight Connector 73"/>
          <p:cNvCxnSpPr/>
          <p:nvPr/>
        </p:nvCxnSpPr>
        <p:spPr>
          <a:xfrm flipV="1">
            <a:off x="3149265" y="3486150"/>
            <a:ext cx="5319141" cy="1210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30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3530265" y="1496511"/>
            <a:ext cx="893535" cy="8463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 smtClean="0">
                <a:solidFill>
                  <a:schemeClr val="tx1">
                    <a:lumMod val="75000"/>
                  </a:schemeClr>
                </a:solidFill>
              </a:rPr>
              <a:t>Toyota </a:t>
            </a:r>
            <a:r>
              <a:rPr lang="en-US" sz="600" dirty="0" err="1" smtClean="0">
                <a:solidFill>
                  <a:schemeClr val="tx1">
                    <a:lumMod val="75000"/>
                  </a:schemeClr>
                </a:solidFill>
              </a:rPr>
              <a:t>Prius</a:t>
            </a:r>
            <a:r>
              <a:rPr lang="en-US" sz="600" dirty="0" smtClean="0">
                <a:solidFill>
                  <a:schemeClr val="tx1">
                    <a:lumMod val="75000"/>
                  </a:schemeClr>
                </a:solidFill>
              </a:rPr>
              <a:t> Prime</a:t>
            </a:r>
            <a:endParaRPr lang="en-US" sz="600" dirty="0">
              <a:solidFill>
                <a:schemeClr val="tx1">
                  <a:lumMod val="75000"/>
                </a:schemeClr>
              </a:solidFill>
            </a:endParaRPr>
          </a:p>
        </p:txBody>
      </p:sp>
      <p:pic>
        <p:nvPicPr>
          <p:cNvPr id="63" name="Picture 2" descr="ttp://www.toyota.com/content/uvp/welcome/1024_jelly.png?01AD=3uk04bcMF6jwxOLcyGEqb3j3OWv5g86CFRbu_Tt4ap1"/>
          <p:cNvPicPr>
            <a:picLocks noChangeAspect="1" noChangeArrowheads="1"/>
          </p:cNvPicPr>
          <p:nvPr/>
        </p:nvPicPr>
        <p:blipFill>
          <a:blip r:embed="rId6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81400" y="1182529"/>
            <a:ext cx="772132" cy="329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Rectangle 30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3377865" y="2050661"/>
            <a:ext cx="1260793" cy="8463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 smtClean="0">
                <a:latin typeface="Arial" pitchFamily="34" charset="0"/>
                <a:ea typeface="+mn-ea"/>
                <a:cs typeface="Arial" pitchFamily="34" charset="0"/>
              </a:rPr>
              <a:t>Chrysler Pacifica Plug-In</a:t>
            </a:r>
            <a:endParaRPr lang="en-US" sz="600" dirty="0"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2" name="Rectangle 30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4625177" y="3318089"/>
            <a:ext cx="644723" cy="8463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>
                <a:solidFill>
                  <a:schemeClr val="tx1">
                    <a:lumMod val="75000"/>
                  </a:schemeClr>
                </a:solidFill>
              </a:rPr>
              <a:t>Honda Fit</a:t>
            </a:r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>
          <a:blip r:embed="rId6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0150" y="2724150"/>
            <a:ext cx="874777" cy="533400"/>
          </a:xfrm>
          <a:prstGeom prst="rect">
            <a:avLst/>
          </a:prstGeom>
        </p:spPr>
      </p:pic>
      <p:sp>
        <p:nvSpPr>
          <p:cNvPr id="75" name="Rectangle 30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3721039" y="3318089"/>
            <a:ext cx="644723" cy="8463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 smtClean="0">
                <a:solidFill>
                  <a:schemeClr val="tx1">
                    <a:lumMod val="75000"/>
                  </a:schemeClr>
                </a:solidFill>
              </a:rPr>
              <a:t>Toyota </a:t>
            </a:r>
            <a:r>
              <a:rPr lang="en-US" sz="600" dirty="0" err="1" smtClean="0">
                <a:solidFill>
                  <a:schemeClr val="tx1">
                    <a:lumMod val="75000"/>
                  </a:schemeClr>
                </a:solidFill>
              </a:rPr>
              <a:t>Rav</a:t>
            </a:r>
            <a:r>
              <a:rPr lang="en-US" sz="600" dirty="0" smtClean="0">
                <a:solidFill>
                  <a:schemeClr val="tx1">
                    <a:lumMod val="75000"/>
                  </a:schemeClr>
                </a:solidFill>
              </a:rPr>
              <a:t> 4 EV</a:t>
            </a:r>
            <a:endParaRPr lang="en-US" sz="600" dirty="0">
              <a:solidFill>
                <a:schemeClr val="tx1">
                  <a:lumMod val="75000"/>
                </a:scheme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0"/>
          <a:stretch>
            <a:fillRect/>
          </a:stretch>
        </p:blipFill>
        <p:spPr>
          <a:xfrm>
            <a:off x="3647211" y="2876550"/>
            <a:ext cx="792378" cy="412750"/>
          </a:xfrm>
          <a:prstGeom prst="rect">
            <a:avLst/>
          </a:prstGeom>
        </p:spPr>
      </p:pic>
      <p:sp>
        <p:nvSpPr>
          <p:cNvPr id="77" name="Rectangle 30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3698023" y="4032292"/>
            <a:ext cx="690754" cy="7202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 smtClean="0">
                <a:latin typeface="Arial" pitchFamily="34" charset="0"/>
                <a:cs typeface="Arial" pitchFamily="34" charset="0"/>
              </a:rPr>
              <a:t>Chevy Bolt EV</a:t>
            </a:r>
            <a:endParaRPr lang="en-US" sz="6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78" name="Picture 77"/>
          <p:cNvPicPr>
            <a:picLocks noChangeAspect="1"/>
          </p:cNvPicPr>
          <p:nvPr/>
        </p:nvPicPr>
        <p:blipFill>
          <a:blip r:embed="rId7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4300" y="3638550"/>
            <a:ext cx="838200" cy="342523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72"/>
          <a:stretch>
            <a:fillRect/>
          </a:stretch>
        </p:blipFill>
        <p:spPr>
          <a:xfrm>
            <a:off x="3606465" y="1657350"/>
            <a:ext cx="777618" cy="402863"/>
          </a:xfrm>
          <a:prstGeom prst="rect">
            <a:avLst/>
          </a:prstGeom>
        </p:spPr>
      </p:pic>
      <p:pic>
        <p:nvPicPr>
          <p:cNvPr id="76" name="Picture 75"/>
          <p:cNvPicPr>
            <a:picLocks noChangeAspect="1"/>
          </p:cNvPicPr>
          <p:nvPr/>
        </p:nvPicPr>
        <p:blipFill>
          <a:blip r:embed="rId7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1679" y="4248150"/>
            <a:ext cx="843265" cy="457200"/>
          </a:xfrm>
          <a:prstGeom prst="rect">
            <a:avLst/>
          </a:prstGeom>
        </p:spPr>
      </p:pic>
      <p:sp>
        <p:nvSpPr>
          <p:cNvPr id="80" name="Rectangle 30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2768265" y="4698009"/>
            <a:ext cx="859631" cy="8463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 smtClean="0">
                <a:solidFill>
                  <a:schemeClr val="tx1">
                    <a:lumMod val="75000"/>
                  </a:schemeClr>
                </a:solidFill>
              </a:rPr>
              <a:t>Hyundai </a:t>
            </a:r>
            <a:r>
              <a:rPr lang="en-US" sz="600" dirty="0" err="1" smtClean="0">
                <a:solidFill>
                  <a:schemeClr val="tx1">
                    <a:lumMod val="75000"/>
                  </a:schemeClr>
                </a:solidFill>
              </a:rPr>
              <a:t>Ioniq</a:t>
            </a:r>
            <a:r>
              <a:rPr lang="en-US" sz="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sz="600" dirty="0" smtClean="0">
                <a:solidFill>
                  <a:schemeClr val="tx1">
                    <a:lumMod val="75000"/>
                  </a:schemeClr>
                </a:solidFill>
              </a:rPr>
              <a:t>Electric</a:t>
            </a:r>
            <a:endParaRPr lang="en-US" sz="600" dirty="0">
              <a:solidFill>
                <a:schemeClr val="tx1">
                  <a:lumMod val="75000"/>
                </a:schemeClr>
              </a:solidFill>
            </a:endParaRPr>
          </a:p>
        </p:txBody>
      </p:sp>
      <p:pic>
        <p:nvPicPr>
          <p:cNvPr id="82" name="Picture 81"/>
          <p:cNvPicPr>
            <a:picLocks noChangeAspect="1"/>
          </p:cNvPicPr>
          <p:nvPr/>
        </p:nvPicPr>
        <p:blipFill>
          <a:blip r:embed="rId7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7006" y="2175448"/>
            <a:ext cx="937943" cy="527494"/>
          </a:xfrm>
          <a:prstGeom prst="rect">
            <a:avLst/>
          </a:prstGeom>
        </p:spPr>
      </p:pic>
      <p:sp>
        <p:nvSpPr>
          <p:cNvPr id="83" name="Rectangle 30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2463465" y="2584061"/>
            <a:ext cx="1260793" cy="8463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 smtClean="0">
                <a:latin typeface="Arial" pitchFamily="34" charset="0"/>
                <a:ea typeface="+mn-ea"/>
                <a:cs typeface="Arial" pitchFamily="34" charset="0"/>
              </a:rPr>
              <a:t>BMW 330e</a:t>
            </a:r>
            <a:endParaRPr lang="en-US" sz="600" dirty="0"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86" name="Picture 85"/>
          <p:cNvPicPr>
            <a:picLocks noChangeAspect="1"/>
          </p:cNvPicPr>
          <p:nvPr/>
        </p:nvPicPr>
        <p:blipFill>
          <a:blip r:embed="rId7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12158" y="1573499"/>
            <a:ext cx="931143" cy="524544"/>
          </a:xfrm>
          <a:prstGeom prst="rect">
            <a:avLst/>
          </a:prstGeom>
        </p:spPr>
      </p:pic>
      <p:sp>
        <p:nvSpPr>
          <p:cNvPr id="88" name="Rectangle 30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2520774" y="2079500"/>
            <a:ext cx="1146175" cy="8463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 smtClean="0">
                <a:latin typeface="Arial" pitchFamily="34" charset="0"/>
                <a:cs typeface="Arial" pitchFamily="34" charset="0"/>
              </a:rPr>
              <a:t>BMW 740e</a:t>
            </a:r>
            <a:endParaRPr lang="en-US" sz="6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6" name="Picture 2" descr="Image result for tesla model 3 png"/>
          <p:cNvPicPr>
            <a:picLocks noChangeAspect="1" noChangeArrowheads="1"/>
          </p:cNvPicPr>
          <p:nvPr/>
        </p:nvPicPr>
        <p:blipFill>
          <a:blip r:embed="rId7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3845" y="4227953"/>
            <a:ext cx="1218377" cy="478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Rectangle 30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6580857" y="4675833"/>
            <a:ext cx="915838" cy="831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600" dirty="0">
                <a:solidFill>
                  <a:schemeClr val="tx1">
                    <a:lumMod val="75000"/>
                  </a:schemeClr>
                </a:solidFill>
              </a:rPr>
              <a:t>Tesla Model </a:t>
            </a:r>
            <a:r>
              <a:rPr lang="en-US" sz="600" dirty="0" smtClean="0">
                <a:solidFill>
                  <a:schemeClr val="tx1">
                    <a:lumMod val="75000"/>
                  </a:schemeClr>
                </a:solidFill>
              </a:rPr>
              <a:t>3</a:t>
            </a:r>
            <a:endParaRPr lang="en-US" sz="600" dirty="0">
              <a:solidFill>
                <a:schemeClr val="tx1">
                  <a:lumMod val="75000"/>
                </a:scheme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0140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data:image/gif;base64,R0lGODlhAQABAAAAACH5BAEKAAEALAAAAAABAAEAAAICTAEAOw=="/>
          <p:cNvSpPr>
            <a:spLocks noChangeAspect="1" noChangeArrowheads="1"/>
          </p:cNvSpPr>
          <p:nvPr/>
        </p:nvSpPr>
        <p:spPr bwMode="auto">
          <a:xfrm>
            <a:off x="1259681" y="-108347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28" name="Picture 4" descr="https://i.kinja-img.com/gawker-media/image/upload/s--bFicpn5T--/c_scale,fl_progressive,q_80,w_800/kpbbjokjyhayodityunc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514350"/>
            <a:ext cx="4114800" cy="2314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Image result for chevy bol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9200" y="1504950"/>
            <a:ext cx="4082143" cy="2491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l="2444" t="32963" r="55557" b="3333"/>
          <a:stretch/>
        </p:blipFill>
        <p:spPr>
          <a:xfrm>
            <a:off x="275771" y="3028950"/>
            <a:ext cx="4581304" cy="2084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261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ll EVs can use Level 2 EVSE</a:t>
            </a:r>
            <a:endParaRPr lang="en-US" sz="1200" b="0" dirty="0">
              <a:solidFill>
                <a:srgbClr val="FF7A14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0D55CB3-A229-4D37-98DE-0BA6D5C5D1A9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endParaRPr lang="en-US"/>
          </a:p>
        </p:txBody>
      </p:sp>
      <p:pic>
        <p:nvPicPr>
          <p:cNvPr id="11" name="Picture Placehold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80" b="13580"/>
          <a:stretch>
            <a:fillRect/>
          </a:stretch>
        </p:blipFill>
        <p:spPr bwMode="auto">
          <a:xfrm>
            <a:off x="1143000" y="953245"/>
            <a:ext cx="6629400" cy="3621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49696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5493" y="361950"/>
            <a:ext cx="6229350" cy="400110"/>
          </a:xfrm>
        </p:spPr>
        <p:txBody>
          <a:bodyPr/>
          <a:lstStyle/>
          <a:p>
            <a:r>
              <a:rPr lang="en-US" dirty="0" smtClean="0"/>
              <a:t>Level 2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5867400" y="3714750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la </a:t>
            </a:r>
            <a:r>
              <a:rPr lang="en-US" sz="1600" b="1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ptor</a:t>
            </a:r>
            <a:endParaRPr lang="en-US" sz="1600" b="1" dirty="0">
              <a:solidFill>
                <a:srgbClr val="1C1C1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1167061"/>
            <a:ext cx="3467100" cy="250839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0600" y="1268733"/>
            <a:ext cx="3457575" cy="230505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524000" y="3714750"/>
            <a:ext cx="1828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1772 Connector</a:t>
            </a:r>
            <a:endParaRPr lang="en-US" sz="1600" b="1" dirty="0">
              <a:solidFill>
                <a:srgbClr val="1C1C1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7351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Text Placeholder 2"/>
          <p:cNvSpPr>
            <a:spLocks noGrp="1"/>
          </p:cNvSpPr>
          <p:nvPr>
            <p:ph type="body" idx="1"/>
          </p:nvPr>
        </p:nvSpPr>
        <p:spPr>
          <a:xfrm>
            <a:off x="457200" y="629348"/>
            <a:ext cx="3886200" cy="365125"/>
          </a:xfrm>
        </p:spPr>
        <p:txBody>
          <a:bodyPr>
            <a:normAutofit lnSpcReduction="10000"/>
          </a:bodyPr>
          <a:lstStyle/>
          <a:p>
            <a:pPr>
              <a:buFont typeface="Arial Bold" charset="0"/>
              <a:buNone/>
              <a:defRPr/>
            </a:pPr>
            <a:r>
              <a:rPr lang="en-US" altLang="en-US" sz="2400" dirty="0">
                <a:solidFill>
                  <a:schemeClr val="accent1"/>
                </a:solidFill>
                <a:ea typeface="ＭＳ Ｐゴシック" charset="-128"/>
                <a:cs typeface="Arial" charset="0"/>
              </a:rPr>
              <a:t>Drivers </a:t>
            </a:r>
            <a:r>
              <a:rPr lang="en-US" altLang="en-US" sz="2400" dirty="0" smtClean="0">
                <a:solidFill>
                  <a:schemeClr val="accent1"/>
                </a:solidFill>
                <a:ea typeface="ＭＳ Ｐゴシック" charset="-128"/>
                <a:cs typeface="Arial" charset="0"/>
              </a:rPr>
              <a:t>Need:</a:t>
            </a:r>
            <a:endParaRPr lang="en-US" altLang="en-US" sz="2400" dirty="0">
              <a:solidFill>
                <a:schemeClr val="accent1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5603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123950"/>
            <a:ext cx="3886200" cy="3028950"/>
          </a:xfrm>
        </p:spPr>
        <p:txBody>
          <a:bodyPr>
            <a:normAutofit/>
          </a:bodyPr>
          <a:lstStyle/>
          <a:p>
            <a:pPr marL="234950" indent="-234950" eaLnBrk="1" hangingPunct="1"/>
            <a:r>
              <a:rPr lang="en-US" altLang="en-US" dirty="0" smtClean="0">
                <a:ea typeface="ＭＳ Ｐゴシック" panose="020B0600070205080204" pitchFamily="34" charset="-128"/>
              </a:rPr>
              <a:t>Fast, </a:t>
            </a:r>
            <a:r>
              <a:rPr lang="en-US" altLang="en-US" dirty="0" smtClean="0">
                <a:ea typeface="ＭＳ Ｐゴシック" panose="020B0600070205080204" pitchFamily="34" charset="-128"/>
              </a:rPr>
              <a:t>easy, reliable charging</a:t>
            </a:r>
            <a:endParaRPr lang="en-US" altLang="en-US" dirty="0" smtClean="0">
              <a:ea typeface="ＭＳ Ｐゴシック" panose="020B0600070205080204" pitchFamily="34" charset="-128"/>
            </a:endParaRPr>
          </a:p>
          <a:p>
            <a:pPr marL="234950" indent="-234950" eaLnBrk="1" hangingPunct="1"/>
            <a:r>
              <a:rPr lang="en-US" altLang="en-US" dirty="0" smtClean="0">
                <a:ea typeface="ＭＳ Ｐゴシック" panose="020B0600070205080204" pitchFamily="34" charset="-128"/>
              </a:rPr>
              <a:t>Convenient locations </a:t>
            </a:r>
          </a:p>
          <a:p>
            <a:pPr marL="234950" indent="-234950" eaLnBrk="1" hangingPunct="1"/>
            <a:r>
              <a:rPr lang="en-US" altLang="en-US" dirty="0" smtClean="0">
                <a:ea typeface="ＭＳ Ｐゴシック" panose="020B0600070205080204" pitchFamily="34" charset="-128"/>
              </a:rPr>
              <a:t>Real-time station status and details</a:t>
            </a:r>
          </a:p>
          <a:p>
            <a:pPr marL="234950" indent="-234950" eaLnBrk="1" hangingPunct="1"/>
            <a:r>
              <a:rPr lang="en-US" altLang="en-US" dirty="0" smtClean="0">
                <a:ea typeface="ＭＳ Ｐゴシック" panose="020B0600070205080204" pitchFamily="34" charset="-128"/>
              </a:rPr>
              <a:t>A network that knows their car </a:t>
            </a:r>
          </a:p>
          <a:p>
            <a:pPr marL="234950" indent="-234950" eaLnBrk="1" hangingPunct="1"/>
            <a:r>
              <a:rPr lang="en-US" altLang="en-US" dirty="0" smtClean="0">
                <a:ea typeface="ＭＳ Ｐゴシック" panose="020B0600070205080204" pitchFamily="34" charset="-128"/>
              </a:rPr>
              <a:t>Tracking of their charging details </a:t>
            </a:r>
          </a:p>
          <a:p>
            <a:pPr marL="234950" indent="-234950" eaLnBrk="1" hangingPunct="1"/>
            <a:r>
              <a:rPr lang="en-US" altLang="en-US" dirty="0" smtClean="0">
                <a:ea typeface="ＭＳ Ｐゴシック" panose="020B0600070205080204" pitchFamily="34" charset="-128"/>
              </a:rPr>
              <a:t>Expert assistance on demand</a:t>
            </a:r>
          </a:p>
        </p:txBody>
      </p:sp>
      <p:sp>
        <p:nvSpPr>
          <p:cNvPr id="25604" name="Content Placeholder 5"/>
          <p:cNvSpPr>
            <a:spLocks noGrp="1"/>
          </p:cNvSpPr>
          <p:nvPr>
            <p:ph sz="quarter" idx="4"/>
          </p:nvPr>
        </p:nvSpPr>
        <p:spPr>
          <a:xfrm>
            <a:off x="4600649" y="1123950"/>
            <a:ext cx="4532377" cy="3028950"/>
          </a:xfrm>
        </p:spPr>
        <p:txBody>
          <a:bodyPr>
            <a:normAutofit/>
          </a:bodyPr>
          <a:lstStyle/>
          <a:p>
            <a:pPr eaLnBrk="1" hangingPunct="1"/>
            <a:r>
              <a:rPr lang="en-US" altLang="en-US" dirty="0" smtClean="0">
                <a:ea typeface="ＭＳ Ｐゴシック" panose="020B0600070205080204" pitchFamily="34" charset="-128"/>
              </a:rPr>
              <a:t>Simple operation, low overhead costs</a:t>
            </a:r>
          </a:p>
          <a:p>
            <a:pPr eaLnBrk="1" hangingPunct="1"/>
            <a:r>
              <a:rPr lang="en-US" altLang="en-US" dirty="0" smtClean="0">
                <a:ea typeface="ＭＳ Ｐゴシック" panose="020B0600070205080204" pitchFamily="34" charset="-128"/>
              </a:rPr>
              <a:t>Customization to meet their requirements</a:t>
            </a:r>
          </a:p>
          <a:p>
            <a:pPr eaLnBrk="1" hangingPunct="1"/>
            <a:r>
              <a:rPr lang="en-US" altLang="en-US" dirty="0" smtClean="0">
                <a:ea typeface="ＭＳ Ｐゴシック" panose="020B0600070205080204" pitchFamily="34" charset="-128"/>
              </a:rPr>
              <a:t>Automatic upgrades </a:t>
            </a:r>
          </a:p>
          <a:p>
            <a:pPr eaLnBrk="1" hangingPunct="1"/>
            <a:r>
              <a:rPr lang="en-US" altLang="en-US" dirty="0" smtClean="0">
                <a:ea typeface="ＭＳ Ｐゴシック" panose="020B0600070205080204" pitchFamily="34" charset="-128"/>
              </a:rPr>
              <a:t>Power management to minimize costs</a:t>
            </a:r>
          </a:p>
          <a:p>
            <a:pPr eaLnBrk="1" hangingPunct="1"/>
            <a:r>
              <a:rPr lang="en-US" altLang="en-US" dirty="0" smtClean="0">
                <a:ea typeface="ＭＳ Ｐゴシック" panose="020B0600070205080204" pitchFamily="34" charset="-128"/>
              </a:rPr>
              <a:t>Support for drivers</a:t>
            </a:r>
          </a:p>
          <a:p>
            <a:pPr eaLnBrk="1" hangingPunct="1"/>
            <a:r>
              <a:rPr lang="en-US" altLang="en-US" dirty="0" smtClean="0">
                <a:ea typeface="ＭＳ Ｐゴシック" panose="020B0600070205080204" pitchFamily="34" charset="-128"/>
              </a:rPr>
              <a:t>Reports that validate ROI</a:t>
            </a:r>
          </a:p>
        </p:txBody>
      </p:sp>
      <p:sp>
        <p:nvSpPr>
          <p:cNvPr id="25605" name="Slide Number Placeholder 6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E380D739-128B-4394-A8CA-D42A375EBB97}" type="slidenum">
              <a:rPr lang="en-US" altLang="en-US" smtClean="0"/>
              <a:pPr/>
              <a:t>9</a:t>
            </a:fld>
            <a:endParaRPr lang="en-US" altLang="en-US" smtClean="0"/>
          </a:p>
        </p:txBody>
      </p:sp>
      <p:sp>
        <p:nvSpPr>
          <p:cNvPr id="36869" name="Text Placeholder 2"/>
          <p:cNvSpPr>
            <a:spLocks noGrp="1"/>
          </p:cNvSpPr>
          <p:nvPr>
            <p:ph type="body" idx="1"/>
          </p:nvPr>
        </p:nvSpPr>
        <p:spPr>
          <a:xfrm>
            <a:off x="4648199" y="629348"/>
            <a:ext cx="3886200" cy="365125"/>
          </a:xfrm>
        </p:spPr>
        <p:txBody>
          <a:bodyPr>
            <a:normAutofit lnSpcReduction="10000"/>
          </a:bodyPr>
          <a:lstStyle/>
          <a:p>
            <a:pPr>
              <a:buFont typeface="Arial Bold" charset="0"/>
              <a:buNone/>
              <a:defRPr/>
            </a:pPr>
            <a:r>
              <a:rPr lang="en-US" altLang="en-US" sz="2400" dirty="0">
                <a:solidFill>
                  <a:schemeClr val="accent1"/>
                </a:solidFill>
                <a:ea typeface="ＭＳ Ｐゴシック" charset="-128"/>
                <a:cs typeface="Arial" charset="0"/>
              </a:rPr>
              <a:t>Business Owners Need:</a:t>
            </a:r>
          </a:p>
        </p:txBody>
      </p:sp>
      <p:pic>
        <p:nvPicPr>
          <p:cNvPr id="7" name="Picture 6" descr="Ppt_Driver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5000" y="3562350"/>
            <a:ext cx="675742" cy="1046099"/>
          </a:xfrm>
          <a:prstGeom prst="rect">
            <a:avLst/>
          </a:prstGeom>
        </p:spPr>
      </p:pic>
      <p:pic>
        <p:nvPicPr>
          <p:cNvPr id="8" name="Picture 7" descr="Ppt_StationOwner.png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760" y="3562350"/>
            <a:ext cx="551077" cy="1046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210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JaYxWcPkKo8o9aFcHwGw"/>
</p:tagLst>
</file>

<file path=ppt/theme/theme1.xml><?xml version="1.0" encoding="utf-8"?>
<a:theme xmlns:a="http://schemas.openxmlformats.org/drawingml/2006/main" name="ChargePoint_Template_Confidential_R8_169">
  <a:themeElements>
    <a:clrScheme name="ChargePoint 1">
      <a:dk1>
        <a:srgbClr val="323232"/>
      </a:dk1>
      <a:lt1>
        <a:srgbClr val="FFFFFF"/>
      </a:lt1>
      <a:dk2>
        <a:srgbClr val="323232"/>
      </a:dk2>
      <a:lt2>
        <a:srgbClr val="CDD7D9"/>
      </a:lt2>
      <a:accent1>
        <a:srgbClr val="FF7A14"/>
      </a:accent1>
      <a:accent2>
        <a:srgbClr val="546E8F"/>
      </a:accent2>
      <a:accent3>
        <a:srgbClr val="7A9CAF"/>
      </a:accent3>
      <a:accent4>
        <a:srgbClr val="FDB913"/>
      </a:accent4>
      <a:accent5>
        <a:srgbClr val="339933"/>
      </a:accent5>
      <a:accent6>
        <a:srgbClr val="CC0033"/>
      </a:accent6>
      <a:hlink>
        <a:srgbClr val="50A1D9"/>
      </a:hlink>
      <a:folHlink>
        <a:srgbClr val="96969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24E9C829-5A0A-C948-ADF8-8B296DCE19A5}" vid="{1B6C8B21-9812-8346-BB57-76C7FE06082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7E7F91D74CB0348B366A84E6AAE43A7" ma:contentTypeVersion="2" ma:contentTypeDescription="Create a new document." ma:contentTypeScope="" ma:versionID="8d9bf9b54c776dcd9e52d97d08f6fed8">
  <xsd:schema xmlns:xsd="http://www.w3.org/2001/XMLSchema" xmlns:xs="http://www.w3.org/2001/XMLSchema" xmlns:p="http://schemas.microsoft.com/office/2006/metadata/properties" xmlns:ns2="87b9e4dc-a43b-460c-acab-a7dce2b38dc8" targetNamespace="http://schemas.microsoft.com/office/2006/metadata/properties" ma:root="true" ma:fieldsID="4e052daf0d1a6962fad4a176cf97133b" ns2:_="">
    <xsd:import namespace="87b9e4dc-a43b-460c-acab-a7dce2b38dc8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b9e4dc-a43b-460c-acab-a7dce2b38dc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87b9e4dc-a43b-460c-acab-a7dce2b38dc8">ARRAEUAATR24-503547211-7437</_dlc_DocId>
    <_dlc_DocIdUrl xmlns="87b9e4dc-a43b-460c-acab-a7dce2b38dc8">
      <Url>http://aq.hgac.net/_layouts/15/DocIdRedir.aspx?ID=ARRAEUAATR24-503547211-7437</Url>
      <Description>ARRAEUAATR24-503547211-7437</Description>
    </_dlc_DocIdUrl>
  </documentManagement>
</p:properties>
</file>

<file path=customXml/itemProps1.xml><?xml version="1.0" encoding="utf-8"?>
<ds:datastoreItem xmlns:ds="http://schemas.openxmlformats.org/officeDocument/2006/customXml" ds:itemID="{41B4849A-5526-4CC3-9177-259CCA0966CA}"/>
</file>

<file path=customXml/itemProps2.xml><?xml version="1.0" encoding="utf-8"?>
<ds:datastoreItem xmlns:ds="http://schemas.openxmlformats.org/officeDocument/2006/customXml" ds:itemID="{7D250312-F6E9-4FE2-B4F9-1B0E445144D4}"/>
</file>

<file path=customXml/itemProps3.xml><?xml version="1.0" encoding="utf-8"?>
<ds:datastoreItem xmlns:ds="http://schemas.openxmlformats.org/officeDocument/2006/customXml" ds:itemID="{EAC7DD65-6B5B-4B14-845D-292B70372350}"/>
</file>

<file path=customXml/itemProps4.xml><?xml version="1.0" encoding="utf-8"?>
<ds:datastoreItem xmlns:ds="http://schemas.openxmlformats.org/officeDocument/2006/customXml" ds:itemID="{AB0EA24C-9C97-46C5-96E1-1BDF6957E9DD}"/>
</file>

<file path=docProps/app.xml><?xml version="1.0" encoding="utf-8"?>
<Properties xmlns="http://schemas.openxmlformats.org/officeDocument/2006/extended-properties" xmlns:vt="http://schemas.openxmlformats.org/officeDocument/2006/docPropsVTypes">
  <Template>ChargePoint Standard Presentation Template 16x9</Template>
  <TotalTime>2023</TotalTime>
  <Words>1108</Words>
  <Application>Microsoft Office PowerPoint</Application>
  <PresentationFormat>On-screen Show (16:9)</PresentationFormat>
  <Paragraphs>373</Paragraphs>
  <Slides>24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3" baseType="lpstr">
      <vt:lpstr>ＭＳ Ｐゴシック</vt:lpstr>
      <vt:lpstr>Arial</vt:lpstr>
      <vt:lpstr>Arial Bold</vt:lpstr>
      <vt:lpstr>Calibri</vt:lpstr>
      <vt:lpstr>Courier New</vt:lpstr>
      <vt:lpstr>Lucida Grande</vt:lpstr>
      <vt:lpstr>Webdings</vt:lpstr>
      <vt:lpstr>Wingdings</vt:lpstr>
      <vt:lpstr>ChargePoint_Template_Confidential_R8_169</vt:lpstr>
      <vt:lpstr>Ready for the EV Revolution?</vt:lpstr>
      <vt:lpstr>Top Ten EV/PHEV States</vt:lpstr>
      <vt:lpstr>Top Metros for EV Adoption</vt:lpstr>
      <vt:lpstr>EV Sales Are Growing</vt:lpstr>
      <vt:lpstr>EV Models in USA</vt:lpstr>
      <vt:lpstr>PowerPoint Presentation</vt:lpstr>
      <vt:lpstr>All EVs can use Level 2 EVSE</vt:lpstr>
      <vt:lpstr>Level 2</vt:lpstr>
      <vt:lpstr>PowerPoint Presentation</vt:lpstr>
      <vt:lpstr>Networked vs. Non-Networked Summary</vt:lpstr>
      <vt:lpstr>Charging Station  Design and Planning</vt:lpstr>
      <vt:lpstr>Design and Planning Considerations</vt:lpstr>
      <vt:lpstr>Charging Station Installation  </vt:lpstr>
      <vt:lpstr>Types of Installation Costs and Cost Drivers</vt:lpstr>
      <vt:lpstr>Best Practices for Installation</vt:lpstr>
      <vt:lpstr>Protection</vt:lpstr>
      <vt:lpstr>The World’s Largest and Most Open EV Charging Network</vt:lpstr>
      <vt:lpstr>42,000+ ChargePoint Stations </vt:lpstr>
      <vt:lpstr>Stations for Every Situation</vt:lpstr>
      <vt:lpstr>PowerPoint Presentation</vt:lpstr>
      <vt:lpstr>CT4023- Dual Cord Wall Mount</vt:lpstr>
      <vt:lpstr>CT4021- Dual Cord Bollard Units</vt:lpstr>
      <vt:lpstr>CT4023- Dual Cord Wall Mount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Here</dc:title>
  <dc:creator>Grant Takahashi</dc:creator>
  <cp:lastModifiedBy>Dave Aasheim</cp:lastModifiedBy>
  <cp:revision>56</cp:revision>
  <cp:lastPrinted>2011-01-18T17:17:29Z</cp:lastPrinted>
  <dcterms:created xsi:type="dcterms:W3CDTF">2017-01-13T16:44:25Z</dcterms:created>
  <dcterms:modified xsi:type="dcterms:W3CDTF">2017-11-09T02:12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252ea8dd-1cf2-4fda-abfa-b76142a89d4d</vt:lpwstr>
  </property>
  <property fmtid="{D5CDD505-2E9C-101B-9397-08002B2CF9AE}" pid="3" name="ContentTypeId">
    <vt:lpwstr>0x01010067E7F91D74CB0348B366A84E6AAE43A7</vt:lpwstr>
  </property>
</Properties>
</file>